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ags/tag5.xml" ContentType="application/vnd.openxmlformats-officedocument.presentationml.tags+xml"/>
  <Override PartName="/ppt/theme/themeOverride4.xml" ContentType="application/vnd.openxmlformats-officedocument.themeOverride+xml"/>
  <Override PartName="/ppt/theme/themeOverride5.xml" ContentType="application/vnd.openxmlformats-officedocument.themeOverride+xml"/>
  <Override PartName="/ppt/theme/themeOverride6.xml" ContentType="application/vnd.openxmlformats-officedocument.themeOverride+xml"/>
  <Override PartName="/ppt/theme/themeOverride7.xml" ContentType="application/vnd.openxmlformats-officedocument.themeOverride+xml"/>
  <Override PartName="/ppt/theme/themeOverride8.xml" ContentType="application/vnd.openxmlformats-officedocument.themeOverride+xml"/>
  <Override PartName="/ppt/theme/themeOverride9.xml" ContentType="application/vnd.openxmlformats-officedocument.themeOverride+xml"/>
  <Override PartName="/ppt/theme/themeOverride10.xml" ContentType="application/vnd.openxmlformats-officedocument.themeOverride+xml"/>
  <Override PartName="/ppt/theme/themeOverride11.xml" ContentType="application/vnd.openxmlformats-officedocument.themeOverride+xml"/>
  <Override PartName="/ppt/theme/themeOverride12.xml" ContentType="application/vnd.openxmlformats-officedocument.themeOverride+xml"/>
  <Override PartName="/ppt/theme/themeOverride13.xml" ContentType="application/vnd.openxmlformats-officedocument.themeOverride+xml"/>
  <Override PartName="/ppt/theme/themeOverride14.xml" ContentType="application/vnd.openxmlformats-officedocument.themeOverride+xml"/>
  <Override PartName="/ppt/theme/themeOverride15.xml" ContentType="application/vnd.openxmlformats-officedocument.themeOverride+xml"/>
  <Override PartName="/ppt/tags/tag6.xml" ContentType="application/vnd.openxmlformats-officedocument.presentationml.tags+xml"/>
  <Override PartName="/ppt/theme/themeOverride16.xml" ContentType="application/vnd.openxmlformats-officedocument.themeOverride+xml"/>
  <Override PartName="/ppt/theme/themeOverride17.xml" ContentType="application/vnd.openxmlformats-officedocument.themeOverride+xml"/>
  <Override PartName="/ppt/theme/themeOverride18.xml" ContentType="application/vnd.openxmlformats-officedocument.themeOverride+xml"/>
  <Override PartName="/ppt/theme/themeOverride19.xml" ContentType="application/vnd.openxmlformats-officedocument.themeOverride+xml"/>
  <Override PartName="/ppt/theme/themeOverride20.xml" ContentType="application/vnd.openxmlformats-officedocument.themeOverride+xml"/>
  <Override PartName="/ppt/theme/themeOverride21.xml" ContentType="application/vnd.openxmlformats-officedocument.themeOverride+xml"/>
  <Override PartName="/ppt/theme/themeOverride22.xml" ContentType="application/vnd.openxmlformats-officedocument.themeOverride+xml"/>
  <Override PartName="/ppt/theme/themeOverride23.xml" ContentType="application/vnd.openxmlformats-officedocument.themeOverride+xml"/>
  <Override PartName="/ppt/theme/themeOverride24.xml" ContentType="application/vnd.openxmlformats-officedocument.themeOverride+xml"/>
  <Override PartName="/ppt/theme/themeOverride25.xml" ContentType="application/vnd.openxmlformats-officedocument.themeOverride+xml"/>
  <Override PartName="/ppt/theme/themeOverride26.xml" ContentType="application/vnd.openxmlformats-officedocument.themeOverride+xml"/>
  <Override PartName="/ppt/tags/tag7.xml" ContentType="application/vnd.openxmlformats-officedocument.presentationml.tags+xml"/>
  <Override PartName="/ppt/theme/themeOverride27.xml" ContentType="application/vnd.openxmlformats-officedocument.themeOverride+xml"/>
  <Override PartName="/ppt/theme/themeOverride28.xml" ContentType="application/vnd.openxmlformats-officedocument.themeOverride+xml"/>
  <Override PartName="/ppt/theme/themeOverride29.xml" ContentType="application/vnd.openxmlformats-officedocument.themeOverride+xml"/>
  <Override PartName="/ppt/theme/themeOverride30.xml" ContentType="application/vnd.openxmlformats-officedocument.themeOverride+xml"/>
  <Override PartName="/ppt/theme/themeOverride31.xml" ContentType="application/vnd.openxmlformats-officedocument.themeOverride+xml"/>
  <Override PartName="/ppt/tags/tag8.xml" ContentType="application/vnd.openxmlformats-officedocument.presentationml.tags+xml"/>
  <Override PartName="/ppt/theme/themeOverride32.xml" ContentType="application/vnd.openxmlformats-officedocument.themeOverride+xml"/>
  <Override PartName="/ppt/theme/themeOverride33.xml" ContentType="application/vnd.openxmlformats-officedocument.themeOverride+xml"/>
  <Override PartName="/ppt/theme/themeOverride34.xml" ContentType="application/vnd.openxmlformats-officedocument.themeOverride+xml"/>
  <Override PartName="/ppt/theme/themeOverride35.xml" ContentType="application/vnd.openxmlformats-officedocument.themeOverride+xml"/>
  <Override PartName="/ppt/theme/themeOverride36.xml" ContentType="application/vnd.openxmlformats-officedocument.themeOverride+xml"/>
  <Override PartName="/ppt/tags/tag9.xml" ContentType="application/vnd.openxmlformats-officedocument.presentationml.tags+xml"/>
  <Override PartName="/ppt/theme/themeOverride37.xml" ContentType="application/vnd.openxmlformats-officedocument.themeOverride+xml"/>
  <Override PartName="/ppt/theme/themeOverride38.xml" ContentType="application/vnd.openxmlformats-officedocument.themeOverride+xml"/>
  <Override PartName="/ppt/theme/themeOverride39.xml" ContentType="application/vnd.openxmlformats-officedocument.themeOverride+xml"/>
  <Override PartName="/ppt/theme/themeOverride40.xml" ContentType="application/vnd.openxmlformats-officedocument.themeOverride+xml"/>
  <Override PartName="/ppt/theme/themeOverride41.xml" ContentType="application/vnd.openxmlformats-officedocument.themeOverride+xml"/>
  <Override PartName="/ppt/theme/themeOverride42.xml" ContentType="application/vnd.openxmlformats-officedocument.themeOverride+xml"/>
  <Override PartName="/ppt/theme/themeOverride43.xml" ContentType="application/vnd.openxmlformats-officedocument.themeOverride+xml"/>
  <Override PartName="/ppt/theme/themeOverride44.xml" ContentType="application/vnd.openxmlformats-officedocument.themeOverride+xml"/>
  <Override PartName="/ppt/theme/themeOverride45.xml" ContentType="application/vnd.openxmlformats-officedocument.themeOverride+xml"/>
  <Override PartName="/ppt/theme/themeOverride46.xml" ContentType="application/vnd.openxmlformats-officedocument.themeOverride+xml"/>
  <Override PartName="/ppt/theme/themeOverride47.xml" ContentType="application/vnd.openxmlformats-officedocument.themeOverride+xml"/>
  <Override PartName="/ppt/theme/themeOverride48.xml" ContentType="application/vnd.openxmlformats-officedocument.themeOverride+xml"/>
  <Override PartName="/ppt/theme/themeOverride49.xml" ContentType="application/vnd.openxmlformats-officedocument.themeOverride+xml"/>
  <Override PartName="/ppt/theme/themeOverride50.xml" ContentType="application/vnd.openxmlformats-officedocument.themeOverride+xml"/>
  <Override PartName="/ppt/theme/themeOverride51.xml" ContentType="application/vnd.openxmlformats-officedocument.themeOverride+xml"/>
  <Override PartName="/ppt/theme/themeOverride52.xml" ContentType="application/vnd.openxmlformats-officedocument.themeOverride+xml"/>
  <Override PartName="/ppt/theme/themeOverride53.xml" ContentType="application/vnd.openxmlformats-officedocument.themeOverride+xml"/>
  <Override PartName="/ppt/theme/themeOverride54.xml" ContentType="application/vnd.openxmlformats-officedocument.themeOverride+xml"/>
  <Override PartName="/ppt/theme/themeOverride55.xml" ContentType="application/vnd.openxmlformats-officedocument.themeOverride+xml"/>
  <Override PartName="/ppt/theme/themeOverride56.xml" ContentType="application/vnd.openxmlformats-officedocument.themeOverride+xml"/>
  <Override PartName="/ppt/theme/themeOverride57.xml" ContentType="application/vnd.openxmlformats-officedocument.themeOverride+xml"/>
  <Override PartName="/ppt/theme/themeOverride58.xml" ContentType="application/vnd.openxmlformats-officedocument.themeOverride+xml"/>
  <Override PartName="/ppt/theme/themeOverride59.xml" ContentType="application/vnd.openxmlformats-officedocument.themeOverride+xml"/>
  <Override PartName="/ppt/theme/themeOverride60.xml" ContentType="application/vnd.openxmlformats-officedocument.themeOverride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69"/>
  </p:notesMasterIdLst>
  <p:sldIdLst>
    <p:sldId id="256" r:id="rId2"/>
    <p:sldId id="314" r:id="rId3"/>
    <p:sldId id="311" r:id="rId4"/>
    <p:sldId id="312" r:id="rId5"/>
    <p:sldId id="315" r:id="rId6"/>
    <p:sldId id="430" r:id="rId7"/>
    <p:sldId id="456" r:id="rId8"/>
    <p:sldId id="457" r:id="rId9"/>
    <p:sldId id="458" r:id="rId10"/>
    <p:sldId id="459" r:id="rId11"/>
    <p:sldId id="460" r:id="rId12"/>
    <p:sldId id="461" r:id="rId13"/>
    <p:sldId id="462" r:id="rId14"/>
    <p:sldId id="463" r:id="rId15"/>
    <p:sldId id="464" r:id="rId16"/>
    <p:sldId id="466" r:id="rId17"/>
    <p:sldId id="467" r:id="rId18"/>
    <p:sldId id="468" r:id="rId19"/>
    <p:sldId id="469" r:id="rId20"/>
    <p:sldId id="470" r:id="rId21"/>
    <p:sldId id="471" r:id="rId22"/>
    <p:sldId id="472" r:id="rId23"/>
    <p:sldId id="473" r:id="rId24"/>
    <p:sldId id="474" r:id="rId25"/>
    <p:sldId id="475" r:id="rId26"/>
    <p:sldId id="476" r:id="rId27"/>
    <p:sldId id="477" r:id="rId28"/>
    <p:sldId id="478" r:id="rId29"/>
    <p:sldId id="479" r:id="rId30"/>
    <p:sldId id="480" r:id="rId31"/>
    <p:sldId id="481" r:id="rId32"/>
    <p:sldId id="482" r:id="rId33"/>
    <p:sldId id="483" r:id="rId34"/>
    <p:sldId id="484" r:id="rId35"/>
    <p:sldId id="485" r:id="rId36"/>
    <p:sldId id="487" r:id="rId37"/>
    <p:sldId id="488" r:id="rId38"/>
    <p:sldId id="489" r:id="rId39"/>
    <p:sldId id="490" r:id="rId40"/>
    <p:sldId id="491" r:id="rId41"/>
    <p:sldId id="492" r:id="rId42"/>
    <p:sldId id="493" r:id="rId43"/>
    <p:sldId id="494" r:id="rId44"/>
    <p:sldId id="495" r:id="rId45"/>
    <p:sldId id="496" r:id="rId46"/>
    <p:sldId id="497" r:id="rId47"/>
    <p:sldId id="498" r:id="rId48"/>
    <p:sldId id="499" r:id="rId49"/>
    <p:sldId id="500" r:id="rId50"/>
    <p:sldId id="501" r:id="rId51"/>
    <p:sldId id="502" r:id="rId52"/>
    <p:sldId id="503" r:id="rId53"/>
    <p:sldId id="504" r:id="rId54"/>
    <p:sldId id="505" r:id="rId55"/>
    <p:sldId id="506" r:id="rId56"/>
    <p:sldId id="507" r:id="rId57"/>
    <p:sldId id="508" r:id="rId58"/>
    <p:sldId id="509" r:id="rId59"/>
    <p:sldId id="510" r:id="rId60"/>
    <p:sldId id="511" r:id="rId61"/>
    <p:sldId id="512" r:id="rId62"/>
    <p:sldId id="513" r:id="rId63"/>
    <p:sldId id="514" r:id="rId64"/>
    <p:sldId id="515" r:id="rId65"/>
    <p:sldId id="516" r:id="rId66"/>
    <p:sldId id="517" r:id="rId67"/>
    <p:sldId id="261" r:id="rId68"/>
  </p:sldIdLst>
  <p:sldSz cx="12192000" cy="6858000"/>
  <p:notesSz cx="6858000" cy="9144000"/>
  <p:custDataLst>
    <p:tags r:id="rId70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76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00005C"/>
    <a:srgbClr val="06D24C"/>
    <a:srgbClr val="035920"/>
    <a:srgbClr val="F6F5F3"/>
    <a:srgbClr val="04862F"/>
    <a:srgbClr val="07DB4E"/>
    <a:srgbClr val="08396E"/>
    <a:srgbClr val="0519AB"/>
    <a:srgbClr val="06BE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浅色样式 2 - 强调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5940675A-B579-460E-94D1-54222C63F5DA}" styleName="无样式，网格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6182" autoAdjust="0"/>
  </p:normalViewPr>
  <p:slideViewPr>
    <p:cSldViewPr snapToGrid="0">
      <p:cViewPr varScale="1">
        <p:scale>
          <a:sx n="89" d="100"/>
          <a:sy n="89" d="100"/>
        </p:scale>
        <p:origin x="384" y="53"/>
      </p:cViewPr>
      <p:guideLst>
        <p:guide orient="horz" pos="2176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tableStyles" Target="tableStyles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notesMaster" Target="notesMasters/notesMaster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viewProps" Target="view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" Type="http://schemas.openxmlformats.org/officeDocument/2006/relationships/slide" Target="slides/slide6.xml"/><Relationship Id="rId71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2/3/13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784147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rgbClr val="00002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2_1"/>
          <p:cNvSpPr>
            <a:spLocks noChangeArrowheads="1"/>
          </p:cNvSpPr>
          <p:nvPr userDrawn="1"/>
        </p:nvSpPr>
        <p:spPr bwMode="auto">
          <a:xfrm>
            <a:off x="0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 t="-28757" b="-15909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23" name="任意多边形: 形状 22"/>
          <p:cNvSpPr>
            <a:spLocks noChangeArrowheads="1"/>
          </p:cNvSpPr>
          <p:nvPr userDrawn="1"/>
        </p:nvSpPr>
        <p:spPr bwMode="auto">
          <a:xfrm>
            <a:off x="-794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solidFill>
            <a:srgbClr val="FFC000">
              <a:alpha val="2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20" name="任意多边形: 形状 19"/>
          <p:cNvSpPr/>
          <p:nvPr userDrawn="1"/>
        </p:nvSpPr>
        <p:spPr bwMode="auto">
          <a:xfrm>
            <a:off x="0" y="543509"/>
            <a:ext cx="12192000" cy="6167761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C000"/>
              </a:gs>
              <a:gs pos="11000">
                <a:schemeClr val="accent1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69925" y="5306656"/>
            <a:ext cx="10850563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69925" y="5602927"/>
            <a:ext cx="10850563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669925" y="4456729"/>
            <a:ext cx="10850563" cy="558799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669925" y="1028701"/>
            <a:ext cx="10850563" cy="3136900"/>
          </a:xfrm>
        </p:spPr>
        <p:txBody>
          <a:bodyPr anchor="b" anchorCtr="0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2_1"/>
          <p:cNvSpPr>
            <a:spLocks noChangeArrowheads="1"/>
          </p:cNvSpPr>
          <p:nvPr userDrawn="1"/>
        </p:nvSpPr>
        <p:spPr bwMode="auto">
          <a:xfrm>
            <a:off x="190500" y="3192312"/>
            <a:ext cx="12192000" cy="3429000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blipFill dpi="0" rotWithShape="1">
            <a:blip r:embed="rId2">
              <a:alphaModFix amt="60000"/>
            </a:blip>
            <a:srcRect/>
            <a:stretch>
              <a:fillRect t="-93255" b="-31457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2488168" y="2033814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2489284" y="2929164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accent3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任意多边形: 形状 6"/>
          <p:cNvSpPr/>
          <p:nvPr userDrawn="1"/>
        </p:nvSpPr>
        <p:spPr>
          <a:xfrm>
            <a:off x="-9525" y="-9525"/>
            <a:ext cx="12220575" cy="942975"/>
          </a:xfrm>
          <a:custGeom>
            <a:avLst/>
            <a:gdLst>
              <a:gd name="connsiteX0" fmla="*/ 0 w 12220575"/>
              <a:gd name="connsiteY0" fmla="*/ 0 h 942975"/>
              <a:gd name="connsiteX1" fmla="*/ 9525 w 12220575"/>
              <a:gd name="connsiteY1" fmla="*/ 647700 h 942975"/>
              <a:gd name="connsiteX2" fmla="*/ 2686050 w 12220575"/>
              <a:gd name="connsiteY2" fmla="*/ 942975 h 942975"/>
              <a:gd name="connsiteX3" fmla="*/ 5124450 w 12220575"/>
              <a:gd name="connsiteY3" fmla="*/ 923925 h 942975"/>
              <a:gd name="connsiteX4" fmla="*/ 7277100 w 12220575"/>
              <a:gd name="connsiteY4" fmla="*/ 809625 h 942975"/>
              <a:gd name="connsiteX5" fmla="*/ 9296400 w 12220575"/>
              <a:gd name="connsiteY5" fmla="*/ 466725 h 942975"/>
              <a:gd name="connsiteX6" fmla="*/ 11325225 w 12220575"/>
              <a:gd name="connsiteY6" fmla="*/ 314325 h 942975"/>
              <a:gd name="connsiteX7" fmla="*/ 12220575 w 12220575"/>
              <a:gd name="connsiteY7" fmla="*/ 352425 h 942975"/>
              <a:gd name="connsiteX8" fmla="*/ 12182475 w 12220575"/>
              <a:gd name="connsiteY8" fmla="*/ 9525 h 942975"/>
              <a:gd name="connsiteX9" fmla="*/ 0 w 12220575"/>
              <a:gd name="connsiteY9" fmla="*/ 0 h 94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20575" h="942975">
                <a:moveTo>
                  <a:pt x="0" y="0"/>
                </a:moveTo>
                <a:lnTo>
                  <a:pt x="9525" y="647700"/>
                </a:lnTo>
                <a:lnTo>
                  <a:pt x="2686050" y="942975"/>
                </a:lnTo>
                <a:lnTo>
                  <a:pt x="5124450" y="923925"/>
                </a:lnTo>
                <a:lnTo>
                  <a:pt x="7277100" y="809625"/>
                </a:lnTo>
                <a:lnTo>
                  <a:pt x="9296400" y="466725"/>
                </a:lnTo>
                <a:lnTo>
                  <a:pt x="11325225" y="314325"/>
                </a:lnTo>
                <a:lnTo>
                  <a:pt x="12220575" y="352425"/>
                </a:lnTo>
                <a:lnTo>
                  <a:pt x="12182475" y="952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任意多边形: 形状 9"/>
          <p:cNvSpPr/>
          <p:nvPr userDrawn="1"/>
        </p:nvSpPr>
        <p:spPr bwMode="auto">
          <a:xfrm flipH="1" flipV="1">
            <a:off x="-1219199" y="239311"/>
            <a:ext cx="13411199" cy="80118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FF00"/>
              </a:gs>
              <a:gs pos="11000">
                <a:srgbClr val="FFC0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1" name="任意多边形: 形状 10"/>
          <p:cNvSpPr/>
          <p:nvPr userDrawn="1"/>
        </p:nvSpPr>
        <p:spPr>
          <a:xfrm rot="10800000">
            <a:off x="-28575" y="6321199"/>
            <a:ext cx="12220575" cy="942975"/>
          </a:xfrm>
          <a:custGeom>
            <a:avLst/>
            <a:gdLst>
              <a:gd name="connsiteX0" fmla="*/ 0 w 12220575"/>
              <a:gd name="connsiteY0" fmla="*/ 0 h 942975"/>
              <a:gd name="connsiteX1" fmla="*/ 9525 w 12220575"/>
              <a:gd name="connsiteY1" fmla="*/ 647700 h 942975"/>
              <a:gd name="connsiteX2" fmla="*/ 2686050 w 12220575"/>
              <a:gd name="connsiteY2" fmla="*/ 942975 h 942975"/>
              <a:gd name="connsiteX3" fmla="*/ 5124450 w 12220575"/>
              <a:gd name="connsiteY3" fmla="*/ 923925 h 942975"/>
              <a:gd name="connsiteX4" fmla="*/ 7277100 w 12220575"/>
              <a:gd name="connsiteY4" fmla="*/ 809625 h 942975"/>
              <a:gd name="connsiteX5" fmla="*/ 9296400 w 12220575"/>
              <a:gd name="connsiteY5" fmla="*/ 466725 h 942975"/>
              <a:gd name="connsiteX6" fmla="*/ 11325225 w 12220575"/>
              <a:gd name="connsiteY6" fmla="*/ 314325 h 942975"/>
              <a:gd name="connsiteX7" fmla="*/ 12220575 w 12220575"/>
              <a:gd name="connsiteY7" fmla="*/ 352425 h 942975"/>
              <a:gd name="connsiteX8" fmla="*/ 12182475 w 12220575"/>
              <a:gd name="connsiteY8" fmla="*/ 9525 h 942975"/>
              <a:gd name="connsiteX9" fmla="*/ 0 w 12220575"/>
              <a:gd name="connsiteY9" fmla="*/ 0 h 94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20575" h="942975">
                <a:moveTo>
                  <a:pt x="0" y="0"/>
                </a:moveTo>
                <a:lnTo>
                  <a:pt x="9525" y="647700"/>
                </a:lnTo>
                <a:lnTo>
                  <a:pt x="2686050" y="942975"/>
                </a:lnTo>
                <a:lnTo>
                  <a:pt x="5124450" y="923925"/>
                </a:lnTo>
                <a:lnTo>
                  <a:pt x="7277100" y="809625"/>
                </a:lnTo>
                <a:lnTo>
                  <a:pt x="9296400" y="466725"/>
                </a:lnTo>
                <a:lnTo>
                  <a:pt x="11325225" y="314325"/>
                </a:lnTo>
                <a:lnTo>
                  <a:pt x="12220575" y="352425"/>
                </a:lnTo>
                <a:lnTo>
                  <a:pt x="12182475" y="952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2" name="任意多边形: 形状 11"/>
          <p:cNvSpPr/>
          <p:nvPr userDrawn="1"/>
        </p:nvSpPr>
        <p:spPr bwMode="auto">
          <a:xfrm>
            <a:off x="-9525" y="6230938"/>
            <a:ext cx="12201525" cy="801179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FF00"/>
              </a:gs>
              <a:gs pos="11000">
                <a:srgbClr val="FFC0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2" name="文本框 1"/>
          <p:cNvSpPr txBox="1"/>
          <p:nvPr userDrawn="1"/>
        </p:nvSpPr>
        <p:spPr>
          <a:xfrm>
            <a:off x="11520488" y="6486465"/>
            <a:ext cx="6715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379552D3-A968-4710-B841-1063F5B640DF}" type="slidenum">
              <a:rPr lang="zh-CN" altLang="en-US" sz="2000" b="1" smtClean="0">
                <a:solidFill>
                  <a:schemeClr val="accent2">
                    <a:lumMod val="50000"/>
                  </a:schemeClr>
                </a:solidFill>
              </a:rPr>
              <a:t>‹#›</a:t>
            </a:fld>
            <a:endParaRPr lang="zh-CN" altLang="en-US" b="1" dirty="0">
              <a:solidFill>
                <a:schemeClr val="accent2">
                  <a:lumMod val="50000"/>
                </a:schemeClr>
              </a:solidFill>
            </a:endParaRPr>
          </a:p>
        </p:txBody>
      </p:sp>
      <p:pic>
        <p:nvPicPr>
          <p:cNvPr id="8" name="图片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34410" y="24187"/>
            <a:ext cx="527050" cy="52705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26766-F62E-419D-BB7F-91C9CEBCA24E}" type="datetime1">
              <a:rPr lang="zh-CN" altLang="en-US" smtClean="0"/>
              <a:t>2022/3/13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2_1"/>
          <p:cNvSpPr>
            <a:spLocks noChangeArrowheads="1"/>
          </p:cNvSpPr>
          <p:nvPr userDrawn="1"/>
        </p:nvSpPr>
        <p:spPr bwMode="auto">
          <a:xfrm>
            <a:off x="0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 t="-28757" b="-15909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10" name="任意多边形: 形状 9"/>
          <p:cNvSpPr>
            <a:spLocks noChangeArrowheads="1"/>
          </p:cNvSpPr>
          <p:nvPr userDrawn="1"/>
        </p:nvSpPr>
        <p:spPr bwMode="auto">
          <a:xfrm>
            <a:off x="-794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solidFill>
            <a:srgbClr val="FFC000">
              <a:alpha val="2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4034971" y="2163199"/>
            <a:ext cx="6536871" cy="2390427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034971" y="5238353"/>
            <a:ext cx="6536871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4034973" y="4942082"/>
            <a:ext cx="6536871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1" name="任意多边形: 形状 10"/>
          <p:cNvSpPr/>
          <p:nvPr userDrawn="1"/>
        </p:nvSpPr>
        <p:spPr bwMode="auto">
          <a:xfrm>
            <a:off x="0" y="543509"/>
            <a:ext cx="12192000" cy="6167761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C000"/>
              </a:gs>
              <a:gs pos="11000">
                <a:schemeClr val="accent1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7FE44A0-2E53-457E-9AC0-11D6EE9FA3B5}" type="datetime1">
              <a:rPr lang="zh-CN" altLang="en-US" smtClean="0"/>
              <a:t>2022/3/13</a:t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5" Type="http://schemas.openxmlformats.org/officeDocument/2006/relationships/image" Target="../media/image5.jpe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4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5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6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10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11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1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1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6.xml"/><Relationship Id="rId1" Type="http://schemas.openxmlformats.org/officeDocument/2006/relationships/themeOverride" Target="../theme/themeOverride15.xml"/><Relationship Id="rId4" Type="http://schemas.openxmlformats.org/officeDocument/2006/relationships/image" Target="../media/image29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image" Target="../media/image30.png"/><Relationship Id="rId7" Type="http://schemas.openxmlformats.org/officeDocument/2006/relationships/image" Target="../media/image34.png"/><Relationship Id="rId12" Type="http://schemas.openxmlformats.org/officeDocument/2006/relationships/image" Target="../media/image39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16.xml"/><Relationship Id="rId6" Type="http://schemas.openxmlformats.org/officeDocument/2006/relationships/image" Target="../media/image33.png"/><Relationship Id="rId11" Type="http://schemas.openxmlformats.org/officeDocument/2006/relationships/image" Target="../media/image38.png"/><Relationship Id="rId5" Type="http://schemas.openxmlformats.org/officeDocument/2006/relationships/image" Target="../media/image32.png"/><Relationship Id="rId10" Type="http://schemas.openxmlformats.org/officeDocument/2006/relationships/image" Target="../media/image37.png"/><Relationship Id="rId4" Type="http://schemas.openxmlformats.org/officeDocument/2006/relationships/image" Target="../media/image31.png"/><Relationship Id="rId9" Type="http://schemas.openxmlformats.org/officeDocument/2006/relationships/image" Target="../media/image36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image" Target="../media/image40.png"/><Relationship Id="rId7" Type="http://schemas.openxmlformats.org/officeDocument/2006/relationships/image" Target="../media/image44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17.xml"/><Relationship Id="rId6" Type="http://schemas.openxmlformats.org/officeDocument/2006/relationships/image" Target="../media/image43.png"/><Relationship Id="rId5" Type="http://schemas.openxmlformats.org/officeDocument/2006/relationships/image" Target="../media/image42.png"/><Relationship Id="rId10" Type="http://schemas.openxmlformats.org/officeDocument/2006/relationships/image" Target="../media/image47.png"/><Relationship Id="rId4" Type="http://schemas.openxmlformats.org/officeDocument/2006/relationships/image" Target="../media/image41.png"/><Relationship Id="rId9" Type="http://schemas.openxmlformats.org/officeDocument/2006/relationships/image" Target="../media/image46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3" Type="http://schemas.openxmlformats.org/officeDocument/2006/relationships/image" Target="../media/image48.png"/><Relationship Id="rId7" Type="http://schemas.openxmlformats.org/officeDocument/2006/relationships/image" Target="../media/image52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18.xml"/><Relationship Id="rId6" Type="http://schemas.openxmlformats.org/officeDocument/2006/relationships/image" Target="../media/image51.png"/><Relationship Id="rId5" Type="http://schemas.openxmlformats.org/officeDocument/2006/relationships/image" Target="../media/image50.png"/><Relationship Id="rId10" Type="http://schemas.openxmlformats.org/officeDocument/2006/relationships/image" Target="../media/image55.png"/><Relationship Id="rId4" Type="http://schemas.openxmlformats.org/officeDocument/2006/relationships/image" Target="../media/image49.png"/><Relationship Id="rId9" Type="http://schemas.openxmlformats.org/officeDocument/2006/relationships/image" Target="../media/image54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3" Type="http://schemas.openxmlformats.org/officeDocument/2006/relationships/image" Target="../media/image56.png"/><Relationship Id="rId7" Type="http://schemas.openxmlformats.org/officeDocument/2006/relationships/image" Target="../media/image60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19.xml"/><Relationship Id="rId6" Type="http://schemas.openxmlformats.org/officeDocument/2006/relationships/image" Target="../media/image59.png"/><Relationship Id="rId5" Type="http://schemas.openxmlformats.org/officeDocument/2006/relationships/image" Target="../media/image58.png"/><Relationship Id="rId4" Type="http://schemas.openxmlformats.org/officeDocument/2006/relationships/image" Target="../media/image57.png"/><Relationship Id="rId9" Type="http://schemas.openxmlformats.org/officeDocument/2006/relationships/image" Target="../media/image62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7" Type="http://schemas.openxmlformats.org/officeDocument/2006/relationships/image" Target="../media/image67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20.xml"/><Relationship Id="rId6" Type="http://schemas.openxmlformats.org/officeDocument/2006/relationships/image" Target="../media/image66.png"/><Relationship Id="rId5" Type="http://schemas.openxmlformats.org/officeDocument/2006/relationships/image" Target="../media/image65.png"/><Relationship Id="rId4" Type="http://schemas.openxmlformats.org/officeDocument/2006/relationships/image" Target="../media/image64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21.xml"/><Relationship Id="rId6" Type="http://schemas.openxmlformats.org/officeDocument/2006/relationships/image" Target="../media/image71.png"/><Relationship Id="rId5" Type="http://schemas.openxmlformats.org/officeDocument/2006/relationships/image" Target="../media/image70.png"/><Relationship Id="rId4" Type="http://schemas.openxmlformats.org/officeDocument/2006/relationships/image" Target="../media/image69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7" Type="http://schemas.openxmlformats.org/officeDocument/2006/relationships/image" Target="../media/image76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22.xml"/><Relationship Id="rId6" Type="http://schemas.openxmlformats.org/officeDocument/2006/relationships/image" Target="../media/image75.png"/><Relationship Id="rId5" Type="http://schemas.openxmlformats.org/officeDocument/2006/relationships/image" Target="../media/image74.png"/><Relationship Id="rId4" Type="http://schemas.openxmlformats.org/officeDocument/2006/relationships/image" Target="../media/image73.pn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2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5.jpeg"/><Relationship Id="rId4" Type="http://schemas.openxmlformats.org/officeDocument/2006/relationships/image" Target="../media/image3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24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25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7.xml"/><Relationship Id="rId1" Type="http://schemas.openxmlformats.org/officeDocument/2006/relationships/themeOverride" Target="../theme/themeOverride26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3.png"/><Relationship Id="rId3" Type="http://schemas.openxmlformats.org/officeDocument/2006/relationships/image" Target="../media/image78.png"/><Relationship Id="rId7" Type="http://schemas.openxmlformats.org/officeDocument/2006/relationships/image" Target="../media/image82.png"/><Relationship Id="rId12" Type="http://schemas.openxmlformats.org/officeDocument/2006/relationships/image" Target="../media/image87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27.xml"/><Relationship Id="rId6" Type="http://schemas.openxmlformats.org/officeDocument/2006/relationships/image" Target="../media/image81.png"/><Relationship Id="rId11" Type="http://schemas.openxmlformats.org/officeDocument/2006/relationships/image" Target="../media/image86.png"/><Relationship Id="rId5" Type="http://schemas.openxmlformats.org/officeDocument/2006/relationships/image" Target="../media/image80.png"/><Relationship Id="rId10" Type="http://schemas.openxmlformats.org/officeDocument/2006/relationships/image" Target="../media/image85.png"/><Relationship Id="rId4" Type="http://schemas.openxmlformats.org/officeDocument/2006/relationships/image" Target="../media/image79.png"/><Relationship Id="rId9" Type="http://schemas.openxmlformats.org/officeDocument/2006/relationships/image" Target="../media/image84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28.xml"/><Relationship Id="rId5" Type="http://schemas.openxmlformats.org/officeDocument/2006/relationships/image" Target="../media/image90.png"/><Relationship Id="rId4" Type="http://schemas.openxmlformats.org/officeDocument/2006/relationships/image" Target="../media/image89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29.xml"/><Relationship Id="rId5" Type="http://schemas.openxmlformats.org/officeDocument/2006/relationships/image" Target="../media/image93.png"/><Relationship Id="rId4" Type="http://schemas.openxmlformats.org/officeDocument/2006/relationships/image" Target="../media/image92.png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9.png"/><Relationship Id="rId3" Type="http://schemas.openxmlformats.org/officeDocument/2006/relationships/image" Target="../media/image94.png"/><Relationship Id="rId7" Type="http://schemas.openxmlformats.org/officeDocument/2006/relationships/image" Target="../media/image98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30.xml"/><Relationship Id="rId6" Type="http://schemas.openxmlformats.org/officeDocument/2006/relationships/image" Target="../media/image97.png"/><Relationship Id="rId5" Type="http://schemas.openxmlformats.org/officeDocument/2006/relationships/image" Target="../media/image96.png"/><Relationship Id="rId4" Type="http://schemas.openxmlformats.org/officeDocument/2006/relationships/image" Target="../media/image95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8.xml"/><Relationship Id="rId1" Type="http://schemas.openxmlformats.org/officeDocument/2006/relationships/themeOverride" Target="../theme/themeOverride31.xml"/><Relationship Id="rId5" Type="http://schemas.openxmlformats.org/officeDocument/2006/relationships/image" Target="../media/image101.png"/><Relationship Id="rId4" Type="http://schemas.openxmlformats.org/officeDocument/2006/relationships/image" Target="../media/image100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32.xml"/><Relationship Id="rId6" Type="http://schemas.openxmlformats.org/officeDocument/2006/relationships/image" Target="../media/image105.png"/><Relationship Id="rId5" Type="http://schemas.openxmlformats.org/officeDocument/2006/relationships/image" Target="../media/image104.png"/><Relationship Id="rId4" Type="http://schemas.openxmlformats.org/officeDocument/2006/relationships/image" Target="../media/image103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png"/><Relationship Id="rId7" Type="http://schemas.openxmlformats.org/officeDocument/2006/relationships/image" Target="../media/image110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33.xml"/><Relationship Id="rId6" Type="http://schemas.openxmlformats.org/officeDocument/2006/relationships/image" Target="../media/image109.png"/><Relationship Id="rId5" Type="http://schemas.openxmlformats.org/officeDocument/2006/relationships/image" Target="../media/image108.png"/><Relationship Id="rId4" Type="http://schemas.openxmlformats.org/officeDocument/2006/relationships/image" Target="../media/image10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34.xml"/><Relationship Id="rId4" Type="http://schemas.openxmlformats.org/officeDocument/2006/relationships/image" Target="../media/image112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3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35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9.xml"/><Relationship Id="rId1" Type="http://schemas.openxmlformats.org/officeDocument/2006/relationships/themeOverride" Target="../theme/themeOverride36.xml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9.png"/><Relationship Id="rId3" Type="http://schemas.openxmlformats.org/officeDocument/2006/relationships/image" Target="../media/image114.png"/><Relationship Id="rId7" Type="http://schemas.openxmlformats.org/officeDocument/2006/relationships/image" Target="../media/image118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37.xml"/><Relationship Id="rId6" Type="http://schemas.openxmlformats.org/officeDocument/2006/relationships/image" Target="../media/image117.png"/><Relationship Id="rId5" Type="http://schemas.openxmlformats.org/officeDocument/2006/relationships/image" Target="../media/image116.png"/><Relationship Id="rId4" Type="http://schemas.openxmlformats.org/officeDocument/2006/relationships/image" Target="../media/image115.png"/><Relationship Id="rId9" Type="http://schemas.openxmlformats.org/officeDocument/2006/relationships/image" Target="../media/image120.png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6.png"/><Relationship Id="rId3" Type="http://schemas.openxmlformats.org/officeDocument/2006/relationships/image" Target="../media/image121.png"/><Relationship Id="rId7" Type="http://schemas.openxmlformats.org/officeDocument/2006/relationships/image" Target="../media/image125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38.xml"/><Relationship Id="rId6" Type="http://schemas.openxmlformats.org/officeDocument/2006/relationships/image" Target="../media/image124.png"/><Relationship Id="rId5" Type="http://schemas.openxmlformats.org/officeDocument/2006/relationships/image" Target="../media/image123.png"/><Relationship Id="rId4" Type="http://schemas.openxmlformats.org/officeDocument/2006/relationships/image" Target="../media/image122.png"/><Relationship Id="rId9" Type="http://schemas.openxmlformats.org/officeDocument/2006/relationships/image" Target="../media/image127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8.png"/><Relationship Id="rId7" Type="http://schemas.openxmlformats.org/officeDocument/2006/relationships/image" Target="../media/image132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39.xml"/><Relationship Id="rId6" Type="http://schemas.openxmlformats.org/officeDocument/2006/relationships/image" Target="../media/image131.png"/><Relationship Id="rId5" Type="http://schemas.openxmlformats.org/officeDocument/2006/relationships/image" Target="../media/image130.png"/><Relationship Id="rId4" Type="http://schemas.openxmlformats.org/officeDocument/2006/relationships/image" Target="../media/image129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3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40.xml"/><Relationship Id="rId4" Type="http://schemas.openxmlformats.org/officeDocument/2006/relationships/image" Target="../media/image134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5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41.xml"/><Relationship Id="rId4" Type="http://schemas.openxmlformats.org/officeDocument/2006/relationships/image" Target="../media/image136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7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42.xml"/><Relationship Id="rId4" Type="http://schemas.openxmlformats.org/officeDocument/2006/relationships/image" Target="../media/image138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9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43.xml"/><Relationship Id="rId5" Type="http://schemas.openxmlformats.org/officeDocument/2006/relationships/image" Target="../media/image141.png"/><Relationship Id="rId4" Type="http://schemas.openxmlformats.org/officeDocument/2006/relationships/image" Target="../media/image140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2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44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3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45.xml"/><Relationship Id="rId5" Type="http://schemas.openxmlformats.org/officeDocument/2006/relationships/image" Target="../media/image145.png"/><Relationship Id="rId4" Type="http://schemas.openxmlformats.org/officeDocument/2006/relationships/image" Target="../media/image144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6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46.xml"/><Relationship Id="rId5" Type="http://schemas.openxmlformats.org/officeDocument/2006/relationships/image" Target="../media/image148.png"/><Relationship Id="rId4" Type="http://schemas.openxmlformats.org/officeDocument/2006/relationships/image" Target="../media/image147.pn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9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47.xml"/><Relationship Id="rId4" Type="http://schemas.openxmlformats.org/officeDocument/2006/relationships/image" Target="../media/image150.pn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1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48.xml"/><Relationship Id="rId5" Type="http://schemas.openxmlformats.org/officeDocument/2006/relationships/image" Target="../media/image153.png"/><Relationship Id="rId4" Type="http://schemas.openxmlformats.org/officeDocument/2006/relationships/image" Target="../media/image152.pn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4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49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5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50.xml"/><Relationship Id="rId4" Type="http://schemas.openxmlformats.org/officeDocument/2006/relationships/image" Target="../media/image156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7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51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8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52.xml"/><Relationship Id="rId4" Type="http://schemas.openxmlformats.org/officeDocument/2006/relationships/image" Target="../media/image159.png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0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53.xml"/><Relationship Id="rId4" Type="http://schemas.openxmlformats.org/officeDocument/2006/relationships/image" Target="../media/image161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2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54.xml"/><Relationship Id="rId5" Type="http://schemas.openxmlformats.org/officeDocument/2006/relationships/image" Target="../media/image164.png"/><Relationship Id="rId4" Type="http://schemas.openxmlformats.org/officeDocument/2006/relationships/image" Target="../media/image163.png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5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55.xml"/><Relationship Id="rId5" Type="http://schemas.openxmlformats.org/officeDocument/2006/relationships/image" Target="../media/image167.png"/><Relationship Id="rId4" Type="http://schemas.openxmlformats.org/officeDocument/2006/relationships/image" Target="../media/image166.png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8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56.xml"/><Relationship Id="rId6" Type="http://schemas.openxmlformats.org/officeDocument/2006/relationships/image" Target="../media/image171.png"/><Relationship Id="rId5" Type="http://schemas.openxmlformats.org/officeDocument/2006/relationships/image" Target="../media/image170.png"/><Relationship Id="rId4" Type="http://schemas.openxmlformats.org/officeDocument/2006/relationships/image" Target="../media/image169.png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2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57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3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58.xml"/><Relationship Id="rId6" Type="http://schemas.openxmlformats.org/officeDocument/2006/relationships/image" Target="../media/image176.png"/><Relationship Id="rId5" Type="http://schemas.openxmlformats.org/officeDocument/2006/relationships/image" Target="../media/image175.png"/><Relationship Id="rId4" Type="http://schemas.openxmlformats.org/officeDocument/2006/relationships/image" Target="../media/image174.png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7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59.xml"/><Relationship Id="rId4" Type="http://schemas.openxmlformats.org/officeDocument/2006/relationships/image" Target="../media/image178.png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9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60.xml"/><Relationship Id="rId5" Type="http://schemas.openxmlformats.org/officeDocument/2006/relationships/image" Target="../media/image181.png"/><Relationship Id="rId4" Type="http://schemas.openxmlformats.org/officeDocument/2006/relationships/image" Target="../media/image180.png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0.xml"/><Relationship Id="rId4" Type="http://schemas.openxmlformats.org/officeDocument/2006/relationships/image" Target="../media/image5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5.xml"/><Relationship Id="rId1" Type="http://schemas.openxmlformats.org/officeDocument/2006/relationships/themeOverride" Target="../theme/themeOverride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669925" y="1319455"/>
            <a:ext cx="10850563" cy="3136900"/>
          </a:xfrm>
        </p:spPr>
        <p:txBody>
          <a:bodyPr>
            <a:normAutofit/>
          </a:bodyPr>
          <a:lstStyle/>
          <a:p>
            <a:r>
              <a:rPr lang="en-US" altLang="zh-CN" sz="4800" dirty="0" err="1" smtClean="0"/>
              <a:t>Redis</a:t>
            </a:r>
            <a:r>
              <a:rPr lang="en-US" altLang="zh-CN" sz="4800" dirty="0" smtClean="0"/>
              <a:t> 6 </a:t>
            </a:r>
            <a:r>
              <a:rPr lang="zh-CN" altLang="en-US" sz="4800" dirty="0" smtClean="0"/>
              <a:t>开发与实战</a:t>
            </a:r>
            <a:endParaRPr lang="zh-CN" altLang="en-US" sz="2000" b="0" dirty="0"/>
          </a:p>
        </p:txBody>
      </p:sp>
      <p:sp>
        <p:nvSpPr>
          <p:cNvPr id="29" name="任意多边形: 形状 28"/>
          <p:cNvSpPr/>
          <p:nvPr/>
        </p:nvSpPr>
        <p:spPr>
          <a:xfrm>
            <a:off x="10968292" y="649047"/>
            <a:ext cx="552196" cy="3896208"/>
          </a:xfrm>
          <a:custGeom>
            <a:avLst/>
            <a:gdLst>
              <a:gd name="connsiteX0" fmla="*/ 438280 w 513703"/>
              <a:gd name="connsiteY0" fmla="*/ 3473760 h 3624606"/>
              <a:gd name="connsiteX1" fmla="*/ 513703 w 513703"/>
              <a:gd name="connsiteY1" fmla="*/ 3549183 h 3624606"/>
              <a:gd name="connsiteX2" fmla="*/ 438280 w 513703"/>
              <a:gd name="connsiteY2" fmla="*/ 3624606 h 3624606"/>
              <a:gd name="connsiteX3" fmla="*/ 362857 w 513703"/>
              <a:gd name="connsiteY3" fmla="*/ 3549183 h 3624606"/>
              <a:gd name="connsiteX4" fmla="*/ 438280 w 513703"/>
              <a:gd name="connsiteY4" fmla="*/ 3473760 h 3624606"/>
              <a:gd name="connsiteX5" fmla="*/ 75423 w 513703"/>
              <a:gd name="connsiteY5" fmla="*/ 3473760 h 3624606"/>
              <a:gd name="connsiteX6" fmla="*/ 150846 w 513703"/>
              <a:gd name="connsiteY6" fmla="*/ 3549183 h 3624606"/>
              <a:gd name="connsiteX7" fmla="*/ 75423 w 513703"/>
              <a:gd name="connsiteY7" fmla="*/ 3624606 h 3624606"/>
              <a:gd name="connsiteX8" fmla="*/ 0 w 513703"/>
              <a:gd name="connsiteY8" fmla="*/ 3549183 h 3624606"/>
              <a:gd name="connsiteX9" fmla="*/ 75423 w 513703"/>
              <a:gd name="connsiteY9" fmla="*/ 3473760 h 3624606"/>
              <a:gd name="connsiteX10" fmla="*/ 438280 w 513703"/>
              <a:gd name="connsiteY10" fmla="*/ 3126882 h 3624606"/>
              <a:gd name="connsiteX11" fmla="*/ 513703 w 513703"/>
              <a:gd name="connsiteY11" fmla="*/ 3202305 h 3624606"/>
              <a:gd name="connsiteX12" fmla="*/ 438280 w 513703"/>
              <a:gd name="connsiteY12" fmla="*/ 3277728 h 3624606"/>
              <a:gd name="connsiteX13" fmla="*/ 362857 w 513703"/>
              <a:gd name="connsiteY13" fmla="*/ 3202305 h 3624606"/>
              <a:gd name="connsiteX14" fmla="*/ 438280 w 513703"/>
              <a:gd name="connsiteY14" fmla="*/ 3126882 h 3624606"/>
              <a:gd name="connsiteX15" fmla="*/ 75423 w 513703"/>
              <a:gd name="connsiteY15" fmla="*/ 3126882 h 3624606"/>
              <a:gd name="connsiteX16" fmla="*/ 150846 w 513703"/>
              <a:gd name="connsiteY16" fmla="*/ 3202305 h 3624606"/>
              <a:gd name="connsiteX17" fmla="*/ 75423 w 513703"/>
              <a:gd name="connsiteY17" fmla="*/ 3277728 h 3624606"/>
              <a:gd name="connsiteX18" fmla="*/ 0 w 513703"/>
              <a:gd name="connsiteY18" fmla="*/ 3202305 h 3624606"/>
              <a:gd name="connsiteX19" fmla="*/ 75423 w 513703"/>
              <a:gd name="connsiteY19" fmla="*/ 3126882 h 3624606"/>
              <a:gd name="connsiteX20" fmla="*/ 438280 w 513703"/>
              <a:gd name="connsiteY20" fmla="*/ 2780004 h 3624606"/>
              <a:gd name="connsiteX21" fmla="*/ 513703 w 513703"/>
              <a:gd name="connsiteY21" fmla="*/ 2855427 h 3624606"/>
              <a:gd name="connsiteX22" fmla="*/ 438280 w 513703"/>
              <a:gd name="connsiteY22" fmla="*/ 2930850 h 3624606"/>
              <a:gd name="connsiteX23" fmla="*/ 362857 w 513703"/>
              <a:gd name="connsiteY23" fmla="*/ 2855427 h 3624606"/>
              <a:gd name="connsiteX24" fmla="*/ 438280 w 513703"/>
              <a:gd name="connsiteY24" fmla="*/ 2780004 h 3624606"/>
              <a:gd name="connsiteX25" fmla="*/ 75423 w 513703"/>
              <a:gd name="connsiteY25" fmla="*/ 2780004 h 3624606"/>
              <a:gd name="connsiteX26" fmla="*/ 150846 w 513703"/>
              <a:gd name="connsiteY26" fmla="*/ 2855427 h 3624606"/>
              <a:gd name="connsiteX27" fmla="*/ 75423 w 513703"/>
              <a:gd name="connsiteY27" fmla="*/ 2930850 h 3624606"/>
              <a:gd name="connsiteX28" fmla="*/ 0 w 513703"/>
              <a:gd name="connsiteY28" fmla="*/ 2855427 h 3624606"/>
              <a:gd name="connsiteX29" fmla="*/ 75423 w 513703"/>
              <a:gd name="connsiteY29" fmla="*/ 2780004 h 3624606"/>
              <a:gd name="connsiteX30" fmla="*/ 438280 w 513703"/>
              <a:gd name="connsiteY30" fmla="*/ 2433126 h 3624606"/>
              <a:gd name="connsiteX31" fmla="*/ 513703 w 513703"/>
              <a:gd name="connsiteY31" fmla="*/ 2508549 h 3624606"/>
              <a:gd name="connsiteX32" fmla="*/ 438280 w 513703"/>
              <a:gd name="connsiteY32" fmla="*/ 2583972 h 3624606"/>
              <a:gd name="connsiteX33" fmla="*/ 362857 w 513703"/>
              <a:gd name="connsiteY33" fmla="*/ 2508549 h 3624606"/>
              <a:gd name="connsiteX34" fmla="*/ 438280 w 513703"/>
              <a:gd name="connsiteY34" fmla="*/ 2433126 h 3624606"/>
              <a:gd name="connsiteX35" fmla="*/ 75423 w 513703"/>
              <a:gd name="connsiteY35" fmla="*/ 2433126 h 3624606"/>
              <a:gd name="connsiteX36" fmla="*/ 150846 w 513703"/>
              <a:gd name="connsiteY36" fmla="*/ 2508549 h 3624606"/>
              <a:gd name="connsiteX37" fmla="*/ 75423 w 513703"/>
              <a:gd name="connsiteY37" fmla="*/ 2583972 h 3624606"/>
              <a:gd name="connsiteX38" fmla="*/ 0 w 513703"/>
              <a:gd name="connsiteY38" fmla="*/ 2508549 h 3624606"/>
              <a:gd name="connsiteX39" fmla="*/ 75423 w 513703"/>
              <a:gd name="connsiteY39" fmla="*/ 2433126 h 3624606"/>
              <a:gd name="connsiteX40" fmla="*/ 438280 w 513703"/>
              <a:gd name="connsiteY40" fmla="*/ 2086248 h 3624606"/>
              <a:gd name="connsiteX41" fmla="*/ 513703 w 513703"/>
              <a:gd name="connsiteY41" fmla="*/ 2161671 h 3624606"/>
              <a:gd name="connsiteX42" fmla="*/ 438280 w 513703"/>
              <a:gd name="connsiteY42" fmla="*/ 2237094 h 3624606"/>
              <a:gd name="connsiteX43" fmla="*/ 362857 w 513703"/>
              <a:gd name="connsiteY43" fmla="*/ 2161671 h 3624606"/>
              <a:gd name="connsiteX44" fmla="*/ 438280 w 513703"/>
              <a:gd name="connsiteY44" fmla="*/ 2086248 h 3624606"/>
              <a:gd name="connsiteX45" fmla="*/ 75423 w 513703"/>
              <a:gd name="connsiteY45" fmla="*/ 2086248 h 3624606"/>
              <a:gd name="connsiteX46" fmla="*/ 150846 w 513703"/>
              <a:gd name="connsiteY46" fmla="*/ 2161671 h 3624606"/>
              <a:gd name="connsiteX47" fmla="*/ 75423 w 513703"/>
              <a:gd name="connsiteY47" fmla="*/ 2237094 h 3624606"/>
              <a:gd name="connsiteX48" fmla="*/ 0 w 513703"/>
              <a:gd name="connsiteY48" fmla="*/ 2161671 h 3624606"/>
              <a:gd name="connsiteX49" fmla="*/ 75423 w 513703"/>
              <a:gd name="connsiteY49" fmla="*/ 2086248 h 3624606"/>
              <a:gd name="connsiteX50" fmla="*/ 438280 w 513703"/>
              <a:gd name="connsiteY50" fmla="*/ 1734390 h 3624606"/>
              <a:gd name="connsiteX51" fmla="*/ 513703 w 513703"/>
              <a:gd name="connsiteY51" fmla="*/ 1809813 h 3624606"/>
              <a:gd name="connsiteX52" fmla="*/ 513200 w 513703"/>
              <a:gd name="connsiteY52" fmla="*/ 1812303 h 3624606"/>
              <a:gd name="connsiteX53" fmla="*/ 513703 w 513703"/>
              <a:gd name="connsiteY53" fmla="*/ 1814793 h 3624606"/>
              <a:gd name="connsiteX54" fmla="*/ 438280 w 513703"/>
              <a:gd name="connsiteY54" fmla="*/ 1890216 h 3624606"/>
              <a:gd name="connsiteX55" fmla="*/ 362857 w 513703"/>
              <a:gd name="connsiteY55" fmla="*/ 1814793 h 3624606"/>
              <a:gd name="connsiteX56" fmla="*/ 363360 w 513703"/>
              <a:gd name="connsiteY56" fmla="*/ 1812303 h 3624606"/>
              <a:gd name="connsiteX57" fmla="*/ 362857 w 513703"/>
              <a:gd name="connsiteY57" fmla="*/ 1809813 h 3624606"/>
              <a:gd name="connsiteX58" fmla="*/ 438280 w 513703"/>
              <a:gd name="connsiteY58" fmla="*/ 1734390 h 3624606"/>
              <a:gd name="connsiteX59" fmla="*/ 75423 w 513703"/>
              <a:gd name="connsiteY59" fmla="*/ 1734390 h 3624606"/>
              <a:gd name="connsiteX60" fmla="*/ 150846 w 513703"/>
              <a:gd name="connsiteY60" fmla="*/ 1809813 h 3624606"/>
              <a:gd name="connsiteX61" fmla="*/ 150343 w 513703"/>
              <a:gd name="connsiteY61" fmla="*/ 1812303 h 3624606"/>
              <a:gd name="connsiteX62" fmla="*/ 150846 w 513703"/>
              <a:gd name="connsiteY62" fmla="*/ 1814793 h 3624606"/>
              <a:gd name="connsiteX63" fmla="*/ 75423 w 513703"/>
              <a:gd name="connsiteY63" fmla="*/ 1890216 h 3624606"/>
              <a:gd name="connsiteX64" fmla="*/ 0 w 513703"/>
              <a:gd name="connsiteY64" fmla="*/ 1814793 h 3624606"/>
              <a:gd name="connsiteX65" fmla="*/ 503 w 513703"/>
              <a:gd name="connsiteY65" fmla="*/ 1812303 h 3624606"/>
              <a:gd name="connsiteX66" fmla="*/ 0 w 513703"/>
              <a:gd name="connsiteY66" fmla="*/ 1809813 h 3624606"/>
              <a:gd name="connsiteX67" fmla="*/ 75423 w 513703"/>
              <a:gd name="connsiteY67" fmla="*/ 1734390 h 3624606"/>
              <a:gd name="connsiteX68" fmla="*/ 438280 w 513703"/>
              <a:gd name="connsiteY68" fmla="*/ 1387512 h 3624606"/>
              <a:gd name="connsiteX69" fmla="*/ 513703 w 513703"/>
              <a:gd name="connsiteY69" fmla="*/ 1462935 h 3624606"/>
              <a:gd name="connsiteX70" fmla="*/ 438280 w 513703"/>
              <a:gd name="connsiteY70" fmla="*/ 1538358 h 3624606"/>
              <a:gd name="connsiteX71" fmla="*/ 362857 w 513703"/>
              <a:gd name="connsiteY71" fmla="*/ 1462935 h 3624606"/>
              <a:gd name="connsiteX72" fmla="*/ 438280 w 513703"/>
              <a:gd name="connsiteY72" fmla="*/ 1387512 h 3624606"/>
              <a:gd name="connsiteX73" fmla="*/ 75423 w 513703"/>
              <a:gd name="connsiteY73" fmla="*/ 1387512 h 3624606"/>
              <a:gd name="connsiteX74" fmla="*/ 150846 w 513703"/>
              <a:gd name="connsiteY74" fmla="*/ 1462935 h 3624606"/>
              <a:gd name="connsiteX75" fmla="*/ 75423 w 513703"/>
              <a:gd name="connsiteY75" fmla="*/ 1538358 h 3624606"/>
              <a:gd name="connsiteX76" fmla="*/ 0 w 513703"/>
              <a:gd name="connsiteY76" fmla="*/ 1462935 h 3624606"/>
              <a:gd name="connsiteX77" fmla="*/ 75423 w 513703"/>
              <a:gd name="connsiteY77" fmla="*/ 1387512 h 3624606"/>
              <a:gd name="connsiteX78" fmla="*/ 75423 w 513703"/>
              <a:gd name="connsiteY78" fmla="*/ 1040634 h 3624606"/>
              <a:gd name="connsiteX79" fmla="*/ 150846 w 513703"/>
              <a:gd name="connsiteY79" fmla="*/ 1116057 h 3624606"/>
              <a:gd name="connsiteX80" fmla="*/ 75423 w 513703"/>
              <a:gd name="connsiteY80" fmla="*/ 1191480 h 3624606"/>
              <a:gd name="connsiteX81" fmla="*/ 0 w 513703"/>
              <a:gd name="connsiteY81" fmla="*/ 1116057 h 3624606"/>
              <a:gd name="connsiteX82" fmla="*/ 75423 w 513703"/>
              <a:gd name="connsiteY82" fmla="*/ 1040634 h 3624606"/>
              <a:gd name="connsiteX83" fmla="*/ 438280 w 513703"/>
              <a:gd name="connsiteY83" fmla="*/ 1040634 h 3624606"/>
              <a:gd name="connsiteX84" fmla="*/ 513703 w 513703"/>
              <a:gd name="connsiteY84" fmla="*/ 1116057 h 3624606"/>
              <a:gd name="connsiteX85" fmla="*/ 438280 w 513703"/>
              <a:gd name="connsiteY85" fmla="*/ 1191480 h 3624606"/>
              <a:gd name="connsiteX86" fmla="*/ 362857 w 513703"/>
              <a:gd name="connsiteY86" fmla="*/ 1116057 h 3624606"/>
              <a:gd name="connsiteX87" fmla="*/ 438280 w 513703"/>
              <a:gd name="connsiteY87" fmla="*/ 1040634 h 3624606"/>
              <a:gd name="connsiteX88" fmla="*/ 438280 w 513703"/>
              <a:gd name="connsiteY88" fmla="*/ 693756 h 3624606"/>
              <a:gd name="connsiteX89" fmla="*/ 513703 w 513703"/>
              <a:gd name="connsiteY89" fmla="*/ 769179 h 3624606"/>
              <a:gd name="connsiteX90" fmla="*/ 438280 w 513703"/>
              <a:gd name="connsiteY90" fmla="*/ 844602 h 3624606"/>
              <a:gd name="connsiteX91" fmla="*/ 362857 w 513703"/>
              <a:gd name="connsiteY91" fmla="*/ 769179 h 3624606"/>
              <a:gd name="connsiteX92" fmla="*/ 438280 w 513703"/>
              <a:gd name="connsiteY92" fmla="*/ 693756 h 3624606"/>
              <a:gd name="connsiteX93" fmla="*/ 75423 w 513703"/>
              <a:gd name="connsiteY93" fmla="*/ 693756 h 3624606"/>
              <a:gd name="connsiteX94" fmla="*/ 150846 w 513703"/>
              <a:gd name="connsiteY94" fmla="*/ 769179 h 3624606"/>
              <a:gd name="connsiteX95" fmla="*/ 75423 w 513703"/>
              <a:gd name="connsiteY95" fmla="*/ 844602 h 3624606"/>
              <a:gd name="connsiteX96" fmla="*/ 0 w 513703"/>
              <a:gd name="connsiteY96" fmla="*/ 769179 h 3624606"/>
              <a:gd name="connsiteX97" fmla="*/ 75423 w 513703"/>
              <a:gd name="connsiteY97" fmla="*/ 693756 h 3624606"/>
              <a:gd name="connsiteX98" fmla="*/ 75423 w 513703"/>
              <a:gd name="connsiteY98" fmla="*/ 346879 h 3624606"/>
              <a:gd name="connsiteX99" fmla="*/ 150846 w 513703"/>
              <a:gd name="connsiteY99" fmla="*/ 422302 h 3624606"/>
              <a:gd name="connsiteX100" fmla="*/ 75423 w 513703"/>
              <a:gd name="connsiteY100" fmla="*/ 497724 h 3624606"/>
              <a:gd name="connsiteX101" fmla="*/ 0 w 513703"/>
              <a:gd name="connsiteY101" fmla="*/ 422302 h 3624606"/>
              <a:gd name="connsiteX102" fmla="*/ 75423 w 513703"/>
              <a:gd name="connsiteY102" fmla="*/ 346879 h 3624606"/>
              <a:gd name="connsiteX103" fmla="*/ 438280 w 513703"/>
              <a:gd name="connsiteY103" fmla="*/ 346878 h 3624606"/>
              <a:gd name="connsiteX104" fmla="*/ 513703 w 513703"/>
              <a:gd name="connsiteY104" fmla="*/ 422301 h 3624606"/>
              <a:gd name="connsiteX105" fmla="*/ 438280 w 513703"/>
              <a:gd name="connsiteY105" fmla="*/ 497724 h 3624606"/>
              <a:gd name="connsiteX106" fmla="*/ 362857 w 513703"/>
              <a:gd name="connsiteY106" fmla="*/ 422301 h 3624606"/>
              <a:gd name="connsiteX107" fmla="*/ 438280 w 513703"/>
              <a:gd name="connsiteY107" fmla="*/ 346878 h 3624606"/>
              <a:gd name="connsiteX108" fmla="*/ 75423 w 513703"/>
              <a:gd name="connsiteY108" fmla="*/ 1 h 3624606"/>
              <a:gd name="connsiteX109" fmla="*/ 150846 w 513703"/>
              <a:gd name="connsiteY109" fmla="*/ 75424 h 3624606"/>
              <a:gd name="connsiteX110" fmla="*/ 75423 w 513703"/>
              <a:gd name="connsiteY110" fmla="*/ 150847 h 3624606"/>
              <a:gd name="connsiteX111" fmla="*/ 0 w 513703"/>
              <a:gd name="connsiteY111" fmla="*/ 75424 h 3624606"/>
              <a:gd name="connsiteX112" fmla="*/ 75423 w 513703"/>
              <a:gd name="connsiteY112" fmla="*/ 1 h 3624606"/>
              <a:gd name="connsiteX113" fmla="*/ 438280 w 513703"/>
              <a:gd name="connsiteY113" fmla="*/ 0 h 3624606"/>
              <a:gd name="connsiteX114" fmla="*/ 513703 w 513703"/>
              <a:gd name="connsiteY114" fmla="*/ 75424 h 3624606"/>
              <a:gd name="connsiteX115" fmla="*/ 438280 w 513703"/>
              <a:gd name="connsiteY115" fmla="*/ 150847 h 3624606"/>
              <a:gd name="connsiteX116" fmla="*/ 362857 w 513703"/>
              <a:gd name="connsiteY116" fmla="*/ 75424 h 3624606"/>
              <a:gd name="connsiteX117" fmla="*/ 438280 w 513703"/>
              <a:gd name="connsiteY117" fmla="*/ 0 h 3624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513703" h="3624606">
                <a:moveTo>
                  <a:pt x="438280" y="3473760"/>
                </a:moveTo>
                <a:cubicBezTo>
                  <a:pt x="479935" y="3473760"/>
                  <a:pt x="513703" y="3507528"/>
                  <a:pt x="513703" y="3549183"/>
                </a:cubicBezTo>
                <a:cubicBezTo>
                  <a:pt x="513703" y="3590838"/>
                  <a:pt x="479935" y="3624606"/>
                  <a:pt x="438280" y="3624606"/>
                </a:cubicBezTo>
                <a:cubicBezTo>
                  <a:pt x="396625" y="3624606"/>
                  <a:pt x="362857" y="3590838"/>
                  <a:pt x="362857" y="3549183"/>
                </a:cubicBezTo>
                <a:cubicBezTo>
                  <a:pt x="362857" y="3507528"/>
                  <a:pt x="396625" y="3473760"/>
                  <a:pt x="438280" y="3473760"/>
                </a:cubicBezTo>
                <a:close/>
                <a:moveTo>
                  <a:pt x="75423" y="3473760"/>
                </a:moveTo>
                <a:cubicBezTo>
                  <a:pt x="117078" y="3473760"/>
                  <a:pt x="150846" y="3507528"/>
                  <a:pt x="150846" y="3549183"/>
                </a:cubicBezTo>
                <a:cubicBezTo>
                  <a:pt x="150846" y="3590838"/>
                  <a:pt x="117078" y="3624606"/>
                  <a:pt x="75423" y="3624606"/>
                </a:cubicBezTo>
                <a:cubicBezTo>
                  <a:pt x="33768" y="3624606"/>
                  <a:pt x="0" y="3590838"/>
                  <a:pt x="0" y="3549183"/>
                </a:cubicBezTo>
                <a:cubicBezTo>
                  <a:pt x="0" y="3507528"/>
                  <a:pt x="33768" y="3473760"/>
                  <a:pt x="75423" y="3473760"/>
                </a:cubicBezTo>
                <a:close/>
                <a:moveTo>
                  <a:pt x="438280" y="3126882"/>
                </a:moveTo>
                <a:cubicBezTo>
                  <a:pt x="479935" y="3126882"/>
                  <a:pt x="513703" y="3160650"/>
                  <a:pt x="513703" y="3202305"/>
                </a:cubicBezTo>
                <a:cubicBezTo>
                  <a:pt x="513703" y="3243960"/>
                  <a:pt x="479935" y="3277728"/>
                  <a:pt x="438280" y="3277728"/>
                </a:cubicBezTo>
                <a:cubicBezTo>
                  <a:pt x="396625" y="3277728"/>
                  <a:pt x="362857" y="3243960"/>
                  <a:pt x="362857" y="3202305"/>
                </a:cubicBezTo>
                <a:cubicBezTo>
                  <a:pt x="362857" y="3160650"/>
                  <a:pt x="396625" y="3126882"/>
                  <a:pt x="438280" y="3126882"/>
                </a:cubicBezTo>
                <a:close/>
                <a:moveTo>
                  <a:pt x="75423" y="3126882"/>
                </a:moveTo>
                <a:cubicBezTo>
                  <a:pt x="117078" y="3126882"/>
                  <a:pt x="150846" y="3160650"/>
                  <a:pt x="150846" y="3202305"/>
                </a:cubicBezTo>
                <a:cubicBezTo>
                  <a:pt x="150846" y="3243960"/>
                  <a:pt x="117078" y="3277728"/>
                  <a:pt x="75423" y="3277728"/>
                </a:cubicBezTo>
                <a:cubicBezTo>
                  <a:pt x="33768" y="3277728"/>
                  <a:pt x="0" y="3243960"/>
                  <a:pt x="0" y="3202305"/>
                </a:cubicBezTo>
                <a:cubicBezTo>
                  <a:pt x="0" y="3160650"/>
                  <a:pt x="33768" y="3126882"/>
                  <a:pt x="75423" y="3126882"/>
                </a:cubicBezTo>
                <a:close/>
                <a:moveTo>
                  <a:pt x="438280" y="2780004"/>
                </a:moveTo>
                <a:cubicBezTo>
                  <a:pt x="479935" y="2780004"/>
                  <a:pt x="513703" y="2813772"/>
                  <a:pt x="513703" y="2855427"/>
                </a:cubicBezTo>
                <a:cubicBezTo>
                  <a:pt x="513703" y="2897082"/>
                  <a:pt x="479935" y="2930850"/>
                  <a:pt x="438280" y="2930850"/>
                </a:cubicBezTo>
                <a:cubicBezTo>
                  <a:pt x="396625" y="2930850"/>
                  <a:pt x="362857" y="2897082"/>
                  <a:pt x="362857" y="2855427"/>
                </a:cubicBezTo>
                <a:cubicBezTo>
                  <a:pt x="362857" y="2813772"/>
                  <a:pt x="396625" y="2780004"/>
                  <a:pt x="438280" y="2780004"/>
                </a:cubicBezTo>
                <a:close/>
                <a:moveTo>
                  <a:pt x="75423" y="2780004"/>
                </a:moveTo>
                <a:cubicBezTo>
                  <a:pt x="117078" y="2780004"/>
                  <a:pt x="150846" y="2813772"/>
                  <a:pt x="150846" y="2855427"/>
                </a:cubicBezTo>
                <a:cubicBezTo>
                  <a:pt x="150846" y="2897082"/>
                  <a:pt x="117078" y="2930850"/>
                  <a:pt x="75423" y="2930850"/>
                </a:cubicBezTo>
                <a:cubicBezTo>
                  <a:pt x="33768" y="2930850"/>
                  <a:pt x="0" y="2897082"/>
                  <a:pt x="0" y="2855427"/>
                </a:cubicBezTo>
                <a:cubicBezTo>
                  <a:pt x="0" y="2813772"/>
                  <a:pt x="33768" y="2780004"/>
                  <a:pt x="75423" y="2780004"/>
                </a:cubicBezTo>
                <a:close/>
                <a:moveTo>
                  <a:pt x="438280" y="2433126"/>
                </a:moveTo>
                <a:cubicBezTo>
                  <a:pt x="479935" y="2433126"/>
                  <a:pt x="513703" y="2466894"/>
                  <a:pt x="513703" y="2508549"/>
                </a:cubicBezTo>
                <a:cubicBezTo>
                  <a:pt x="513703" y="2550204"/>
                  <a:pt x="479935" y="2583972"/>
                  <a:pt x="438280" y="2583972"/>
                </a:cubicBezTo>
                <a:cubicBezTo>
                  <a:pt x="396625" y="2583972"/>
                  <a:pt x="362857" y="2550204"/>
                  <a:pt x="362857" y="2508549"/>
                </a:cubicBezTo>
                <a:cubicBezTo>
                  <a:pt x="362857" y="2466894"/>
                  <a:pt x="396625" y="2433126"/>
                  <a:pt x="438280" y="2433126"/>
                </a:cubicBezTo>
                <a:close/>
                <a:moveTo>
                  <a:pt x="75423" y="2433126"/>
                </a:moveTo>
                <a:cubicBezTo>
                  <a:pt x="117078" y="2433126"/>
                  <a:pt x="150846" y="2466894"/>
                  <a:pt x="150846" y="2508549"/>
                </a:cubicBezTo>
                <a:cubicBezTo>
                  <a:pt x="150846" y="2550204"/>
                  <a:pt x="117078" y="2583972"/>
                  <a:pt x="75423" y="2583972"/>
                </a:cubicBezTo>
                <a:cubicBezTo>
                  <a:pt x="33768" y="2583972"/>
                  <a:pt x="0" y="2550204"/>
                  <a:pt x="0" y="2508549"/>
                </a:cubicBezTo>
                <a:cubicBezTo>
                  <a:pt x="0" y="2466894"/>
                  <a:pt x="33768" y="2433126"/>
                  <a:pt x="75423" y="2433126"/>
                </a:cubicBezTo>
                <a:close/>
                <a:moveTo>
                  <a:pt x="438280" y="2086248"/>
                </a:moveTo>
                <a:cubicBezTo>
                  <a:pt x="479935" y="2086248"/>
                  <a:pt x="513703" y="2120016"/>
                  <a:pt x="513703" y="2161671"/>
                </a:cubicBezTo>
                <a:cubicBezTo>
                  <a:pt x="513703" y="2203326"/>
                  <a:pt x="479935" y="2237094"/>
                  <a:pt x="438280" y="2237094"/>
                </a:cubicBezTo>
                <a:cubicBezTo>
                  <a:pt x="396625" y="2237094"/>
                  <a:pt x="362857" y="2203326"/>
                  <a:pt x="362857" y="2161671"/>
                </a:cubicBezTo>
                <a:cubicBezTo>
                  <a:pt x="362857" y="2120016"/>
                  <a:pt x="396625" y="2086248"/>
                  <a:pt x="438280" y="2086248"/>
                </a:cubicBezTo>
                <a:close/>
                <a:moveTo>
                  <a:pt x="75423" y="2086248"/>
                </a:moveTo>
                <a:cubicBezTo>
                  <a:pt x="117078" y="2086248"/>
                  <a:pt x="150846" y="2120016"/>
                  <a:pt x="150846" y="2161671"/>
                </a:cubicBezTo>
                <a:cubicBezTo>
                  <a:pt x="150846" y="2203326"/>
                  <a:pt x="117078" y="2237094"/>
                  <a:pt x="75423" y="2237094"/>
                </a:cubicBezTo>
                <a:cubicBezTo>
                  <a:pt x="33768" y="2237094"/>
                  <a:pt x="0" y="2203326"/>
                  <a:pt x="0" y="2161671"/>
                </a:cubicBezTo>
                <a:cubicBezTo>
                  <a:pt x="0" y="2120016"/>
                  <a:pt x="33768" y="2086248"/>
                  <a:pt x="75423" y="2086248"/>
                </a:cubicBezTo>
                <a:close/>
                <a:moveTo>
                  <a:pt x="438280" y="1734390"/>
                </a:moveTo>
                <a:cubicBezTo>
                  <a:pt x="479935" y="1734390"/>
                  <a:pt x="513703" y="1768158"/>
                  <a:pt x="513703" y="1809813"/>
                </a:cubicBezTo>
                <a:lnTo>
                  <a:pt x="513200" y="1812303"/>
                </a:lnTo>
                <a:lnTo>
                  <a:pt x="513703" y="1814793"/>
                </a:lnTo>
                <a:cubicBezTo>
                  <a:pt x="513703" y="1856448"/>
                  <a:pt x="479935" y="1890216"/>
                  <a:pt x="438280" y="1890216"/>
                </a:cubicBezTo>
                <a:cubicBezTo>
                  <a:pt x="396625" y="1890216"/>
                  <a:pt x="362857" y="1856448"/>
                  <a:pt x="362857" y="1814793"/>
                </a:cubicBezTo>
                <a:lnTo>
                  <a:pt x="363360" y="1812303"/>
                </a:lnTo>
                <a:lnTo>
                  <a:pt x="362857" y="1809813"/>
                </a:lnTo>
                <a:cubicBezTo>
                  <a:pt x="362857" y="1768158"/>
                  <a:pt x="396625" y="1734390"/>
                  <a:pt x="438280" y="1734390"/>
                </a:cubicBezTo>
                <a:close/>
                <a:moveTo>
                  <a:pt x="75423" y="1734390"/>
                </a:moveTo>
                <a:cubicBezTo>
                  <a:pt x="117078" y="1734390"/>
                  <a:pt x="150846" y="1768158"/>
                  <a:pt x="150846" y="1809813"/>
                </a:cubicBezTo>
                <a:lnTo>
                  <a:pt x="150343" y="1812303"/>
                </a:lnTo>
                <a:lnTo>
                  <a:pt x="150846" y="1814793"/>
                </a:lnTo>
                <a:cubicBezTo>
                  <a:pt x="150846" y="1856448"/>
                  <a:pt x="117078" y="1890216"/>
                  <a:pt x="75423" y="1890216"/>
                </a:cubicBezTo>
                <a:cubicBezTo>
                  <a:pt x="33768" y="1890216"/>
                  <a:pt x="0" y="1856448"/>
                  <a:pt x="0" y="1814793"/>
                </a:cubicBezTo>
                <a:lnTo>
                  <a:pt x="503" y="1812303"/>
                </a:lnTo>
                <a:lnTo>
                  <a:pt x="0" y="1809813"/>
                </a:lnTo>
                <a:cubicBezTo>
                  <a:pt x="0" y="1768158"/>
                  <a:pt x="33768" y="1734390"/>
                  <a:pt x="75423" y="1734390"/>
                </a:cubicBezTo>
                <a:close/>
                <a:moveTo>
                  <a:pt x="438280" y="1387512"/>
                </a:moveTo>
                <a:cubicBezTo>
                  <a:pt x="479935" y="1387512"/>
                  <a:pt x="513703" y="1421280"/>
                  <a:pt x="513703" y="1462935"/>
                </a:cubicBezTo>
                <a:cubicBezTo>
                  <a:pt x="513703" y="1504590"/>
                  <a:pt x="479935" y="1538358"/>
                  <a:pt x="438280" y="1538358"/>
                </a:cubicBezTo>
                <a:cubicBezTo>
                  <a:pt x="396625" y="1538358"/>
                  <a:pt x="362857" y="1504590"/>
                  <a:pt x="362857" y="1462935"/>
                </a:cubicBezTo>
                <a:cubicBezTo>
                  <a:pt x="362857" y="1421280"/>
                  <a:pt x="396625" y="1387512"/>
                  <a:pt x="438280" y="1387512"/>
                </a:cubicBezTo>
                <a:close/>
                <a:moveTo>
                  <a:pt x="75423" y="1387512"/>
                </a:moveTo>
                <a:cubicBezTo>
                  <a:pt x="117078" y="1387512"/>
                  <a:pt x="150846" y="1421280"/>
                  <a:pt x="150846" y="1462935"/>
                </a:cubicBezTo>
                <a:cubicBezTo>
                  <a:pt x="150846" y="1504590"/>
                  <a:pt x="117078" y="1538358"/>
                  <a:pt x="75423" y="1538358"/>
                </a:cubicBezTo>
                <a:cubicBezTo>
                  <a:pt x="33768" y="1538358"/>
                  <a:pt x="0" y="1504590"/>
                  <a:pt x="0" y="1462935"/>
                </a:cubicBezTo>
                <a:cubicBezTo>
                  <a:pt x="0" y="1421280"/>
                  <a:pt x="33768" y="1387512"/>
                  <a:pt x="75423" y="1387512"/>
                </a:cubicBezTo>
                <a:close/>
                <a:moveTo>
                  <a:pt x="75423" y="1040634"/>
                </a:moveTo>
                <a:cubicBezTo>
                  <a:pt x="117078" y="1040634"/>
                  <a:pt x="150846" y="1074403"/>
                  <a:pt x="150846" y="1116057"/>
                </a:cubicBezTo>
                <a:cubicBezTo>
                  <a:pt x="150846" y="1157713"/>
                  <a:pt x="117078" y="1191480"/>
                  <a:pt x="75423" y="1191480"/>
                </a:cubicBezTo>
                <a:cubicBezTo>
                  <a:pt x="33768" y="1191480"/>
                  <a:pt x="0" y="1157713"/>
                  <a:pt x="0" y="1116057"/>
                </a:cubicBezTo>
                <a:cubicBezTo>
                  <a:pt x="0" y="1074403"/>
                  <a:pt x="33768" y="1040634"/>
                  <a:pt x="75423" y="1040634"/>
                </a:cubicBezTo>
                <a:close/>
                <a:moveTo>
                  <a:pt x="438280" y="1040634"/>
                </a:moveTo>
                <a:cubicBezTo>
                  <a:pt x="479935" y="1040634"/>
                  <a:pt x="513703" y="1074402"/>
                  <a:pt x="513703" y="1116057"/>
                </a:cubicBezTo>
                <a:cubicBezTo>
                  <a:pt x="513703" y="1157712"/>
                  <a:pt x="479935" y="1191480"/>
                  <a:pt x="438280" y="1191480"/>
                </a:cubicBezTo>
                <a:cubicBezTo>
                  <a:pt x="396625" y="1191480"/>
                  <a:pt x="362857" y="1157712"/>
                  <a:pt x="362857" y="1116057"/>
                </a:cubicBezTo>
                <a:cubicBezTo>
                  <a:pt x="362857" y="1074402"/>
                  <a:pt x="396625" y="1040634"/>
                  <a:pt x="438280" y="1040634"/>
                </a:cubicBezTo>
                <a:close/>
                <a:moveTo>
                  <a:pt x="438280" y="693756"/>
                </a:moveTo>
                <a:cubicBezTo>
                  <a:pt x="479935" y="693756"/>
                  <a:pt x="513703" y="727524"/>
                  <a:pt x="513703" y="769179"/>
                </a:cubicBezTo>
                <a:cubicBezTo>
                  <a:pt x="513703" y="810834"/>
                  <a:pt x="479935" y="844602"/>
                  <a:pt x="438280" y="844602"/>
                </a:cubicBezTo>
                <a:cubicBezTo>
                  <a:pt x="396625" y="844602"/>
                  <a:pt x="362857" y="810834"/>
                  <a:pt x="362857" y="769179"/>
                </a:cubicBezTo>
                <a:cubicBezTo>
                  <a:pt x="362857" y="727524"/>
                  <a:pt x="396625" y="693756"/>
                  <a:pt x="438280" y="693756"/>
                </a:cubicBezTo>
                <a:close/>
                <a:moveTo>
                  <a:pt x="75423" y="693756"/>
                </a:moveTo>
                <a:cubicBezTo>
                  <a:pt x="117078" y="693756"/>
                  <a:pt x="150846" y="727525"/>
                  <a:pt x="150846" y="769179"/>
                </a:cubicBezTo>
                <a:cubicBezTo>
                  <a:pt x="150846" y="810834"/>
                  <a:pt x="117078" y="844602"/>
                  <a:pt x="75423" y="844602"/>
                </a:cubicBezTo>
                <a:cubicBezTo>
                  <a:pt x="33768" y="844602"/>
                  <a:pt x="0" y="810834"/>
                  <a:pt x="0" y="769179"/>
                </a:cubicBezTo>
                <a:cubicBezTo>
                  <a:pt x="0" y="727525"/>
                  <a:pt x="33768" y="693756"/>
                  <a:pt x="75423" y="693756"/>
                </a:cubicBezTo>
                <a:close/>
                <a:moveTo>
                  <a:pt x="75423" y="346879"/>
                </a:moveTo>
                <a:cubicBezTo>
                  <a:pt x="117078" y="346879"/>
                  <a:pt x="150846" y="380647"/>
                  <a:pt x="150846" y="422302"/>
                </a:cubicBezTo>
                <a:cubicBezTo>
                  <a:pt x="150846" y="463957"/>
                  <a:pt x="117078" y="497724"/>
                  <a:pt x="75423" y="497724"/>
                </a:cubicBezTo>
                <a:cubicBezTo>
                  <a:pt x="33768" y="497724"/>
                  <a:pt x="0" y="463957"/>
                  <a:pt x="0" y="422302"/>
                </a:cubicBezTo>
                <a:cubicBezTo>
                  <a:pt x="0" y="380647"/>
                  <a:pt x="33768" y="346879"/>
                  <a:pt x="75423" y="346879"/>
                </a:cubicBezTo>
                <a:close/>
                <a:moveTo>
                  <a:pt x="438280" y="346878"/>
                </a:moveTo>
                <a:cubicBezTo>
                  <a:pt x="479935" y="346878"/>
                  <a:pt x="513703" y="380646"/>
                  <a:pt x="513703" y="422301"/>
                </a:cubicBezTo>
                <a:cubicBezTo>
                  <a:pt x="513703" y="463956"/>
                  <a:pt x="479935" y="497724"/>
                  <a:pt x="438280" y="497724"/>
                </a:cubicBezTo>
                <a:cubicBezTo>
                  <a:pt x="396625" y="497724"/>
                  <a:pt x="362857" y="463956"/>
                  <a:pt x="362857" y="422301"/>
                </a:cubicBezTo>
                <a:cubicBezTo>
                  <a:pt x="362857" y="380646"/>
                  <a:pt x="396625" y="346878"/>
                  <a:pt x="438280" y="346878"/>
                </a:cubicBezTo>
                <a:close/>
                <a:moveTo>
                  <a:pt x="75423" y="1"/>
                </a:moveTo>
                <a:cubicBezTo>
                  <a:pt x="117078" y="1"/>
                  <a:pt x="150846" y="33769"/>
                  <a:pt x="150846" y="75424"/>
                </a:cubicBezTo>
                <a:cubicBezTo>
                  <a:pt x="150846" y="117079"/>
                  <a:pt x="117078" y="150847"/>
                  <a:pt x="75423" y="150847"/>
                </a:cubicBezTo>
                <a:cubicBezTo>
                  <a:pt x="33768" y="150847"/>
                  <a:pt x="0" y="117079"/>
                  <a:pt x="0" y="75424"/>
                </a:cubicBezTo>
                <a:cubicBezTo>
                  <a:pt x="0" y="33769"/>
                  <a:pt x="33768" y="1"/>
                  <a:pt x="75423" y="1"/>
                </a:cubicBezTo>
                <a:close/>
                <a:moveTo>
                  <a:pt x="438280" y="0"/>
                </a:moveTo>
                <a:cubicBezTo>
                  <a:pt x="479935" y="0"/>
                  <a:pt x="513703" y="33769"/>
                  <a:pt x="513703" y="75424"/>
                </a:cubicBezTo>
                <a:cubicBezTo>
                  <a:pt x="513703" y="117079"/>
                  <a:pt x="479935" y="150847"/>
                  <a:pt x="438280" y="150847"/>
                </a:cubicBezTo>
                <a:cubicBezTo>
                  <a:pt x="396625" y="150847"/>
                  <a:pt x="362857" y="117079"/>
                  <a:pt x="362857" y="75424"/>
                </a:cubicBezTo>
                <a:cubicBezTo>
                  <a:pt x="362857" y="33769"/>
                  <a:pt x="396625" y="0"/>
                  <a:pt x="438280" y="0"/>
                </a:cubicBezTo>
                <a:close/>
              </a:path>
            </a:pathLst>
          </a:custGeom>
          <a:gradFill>
            <a:gsLst>
              <a:gs pos="74000">
                <a:schemeClr val="accent2">
                  <a:alpha val="70000"/>
                </a:schemeClr>
              </a:gs>
              <a:gs pos="0">
                <a:schemeClr val="accent4">
                  <a:alpha val="70000"/>
                </a:schemeClr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9684121" y="5993053"/>
            <a:ext cx="2074491" cy="431799"/>
          </a:xfrm>
          <a:prstGeom prst="rect">
            <a:avLst/>
          </a:prstGeom>
        </p:spPr>
      </p:pic>
      <p:sp>
        <p:nvSpPr>
          <p:cNvPr id="22" name="矩形: 圆角 21"/>
          <p:cNvSpPr/>
          <p:nvPr/>
        </p:nvSpPr>
        <p:spPr>
          <a:xfrm>
            <a:off x="800099" y="4579447"/>
            <a:ext cx="4235540" cy="459272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tx1"/>
                </a:solidFill>
              </a:rPr>
              <a:t>主讲教师：</a:t>
            </a:r>
            <a:r>
              <a:rPr lang="en-US" altLang="zh-CN" b="1" dirty="0">
                <a:solidFill>
                  <a:schemeClr val="tx1"/>
                </a:solidFill>
              </a:rPr>
              <a:t>XXX</a:t>
            </a:r>
          </a:p>
        </p:txBody>
      </p:sp>
      <p:pic>
        <p:nvPicPr>
          <p:cNvPr id="25" name="图片 2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11186" y="488949"/>
            <a:ext cx="631826" cy="631826"/>
          </a:xfrm>
          <a:prstGeom prst="rect">
            <a:avLst/>
          </a:prstGeom>
        </p:spPr>
      </p:pic>
      <p:sp>
        <p:nvSpPr>
          <p:cNvPr id="7" name="矩形 6"/>
          <p:cNvSpPr/>
          <p:nvPr/>
        </p:nvSpPr>
        <p:spPr>
          <a:xfrm>
            <a:off x="1328775" y="589418"/>
            <a:ext cx="4527200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zh-CN" altLang="en-US" sz="2200" dirty="0" smtClean="0">
                <a:solidFill>
                  <a:schemeClr val="bg1"/>
                </a:solidFill>
                <a:sym typeface="+mn-ea"/>
              </a:rPr>
              <a:t>大数据教材《</a:t>
            </a:r>
            <a:r>
              <a:rPr lang="en-US" altLang="zh-CN" sz="2200" dirty="0" err="1" smtClean="0">
                <a:solidFill>
                  <a:schemeClr val="bg1"/>
                </a:solidFill>
                <a:sym typeface="+mn-ea"/>
              </a:rPr>
              <a:t>Redis</a:t>
            </a:r>
            <a:r>
              <a:rPr lang="en-US" altLang="zh-CN" sz="2200" dirty="0" smtClean="0">
                <a:solidFill>
                  <a:schemeClr val="bg1"/>
                </a:solidFill>
                <a:sym typeface="+mn-ea"/>
              </a:rPr>
              <a:t> 6</a:t>
            </a:r>
            <a:r>
              <a:rPr lang="zh-CN" altLang="en-US" sz="2200" dirty="0" smtClean="0">
                <a:solidFill>
                  <a:schemeClr val="bg1"/>
                </a:solidFill>
                <a:sym typeface="+mn-ea"/>
              </a:rPr>
              <a:t>开发与实战》</a:t>
            </a:r>
            <a:endParaRPr lang="zh-CN" altLang="en-US" sz="2200" b="1" dirty="0">
              <a:solidFill>
                <a:schemeClr val="accent2"/>
              </a:solidFill>
            </a:endParaRPr>
          </a:p>
        </p:txBody>
      </p:sp>
      <p:sp>
        <p:nvSpPr>
          <p:cNvPr id="6" name="矩形 5"/>
          <p:cNvSpPr/>
          <p:nvPr/>
        </p:nvSpPr>
        <p:spPr>
          <a:xfrm>
            <a:off x="933450" y="5034280"/>
            <a:ext cx="6122035" cy="15532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lnSpc>
                <a:spcPct val="132000"/>
              </a:lnSpc>
            </a:pPr>
            <a:r>
              <a:rPr lang="zh-CN" altLang="en-US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学院：</a:t>
            </a:r>
            <a:r>
              <a:rPr lang="en-US" altLang="zh-CN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XXX</a:t>
            </a:r>
          </a:p>
          <a:p>
            <a:pPr algn="l">
              <a:lnSpc>
                <a:spcPct val="132000"/>
              </a:lnSpc>
            </a:pPr>
            <a:r>
              <a:rPr lang="zh-CN" altLang="en-US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邮箱：</a:t>
            </a:r>
            <a:r>
              <a:rPr lang="en-US" altLang="zh-CN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XXX</a:t>
            </a:r>
          </a:p>
          <a:p>
            <a:pPr algn="l">
              <a:lnSpc>
                <a:spcPct val="132000"/>
              </a:lnSpc>
            </a:pPr>
            <a:r>
              <a:rPr lang="zh-CN" altLang="en-US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办公地点：</a:t>
            </a:r>
            <a:r>
              <a:rPr lang="en-US" altLang="zh-CN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XXX</a:t>
            </a:r>
          </a:p>
          <a:p>
            <a:pPr algn="l">
              <a:lnSpc>
                <a:spcPct val="132000"/>
              </a:lnSpc>
            </a:pPr>
            <a:r>
              <a:rPr lang="zh-CN" altLang="en-US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办公电话：</a:t>
            </a:r>
            <a:r>
              <a:rPr lang="en-US" altLang="zh-CN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XXX</a:t>
            </a: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8836" y="1020305"/>
            <a:ext cx="3353401" cy="4698348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主从复制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669925" y="910590"/>
            <a:ext cx="348361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0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Redis主从</a:t>
            </a:r>
            <a:r>
              <a:rPr lang="zh-CN" altLang="en-US" sz="2400">
                <a:sym typeface="+mn-ea"/>
              </a:rPr>
              <a:t>模式安装过程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800100" y="1370965"/>
            <a:ext cx="184721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Master端操作如下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800100" y="1790065"/>
            <a:ext cx="573341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在Redis主服务器上的redis.conf中修改bind字段，将以下内容</a:t>
            </a: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41400" y="2209165"/>
            <a:ext cx="1495425" cy="190500"/>
          </a:xfrm>
          <a:prstGeom prst="rect">
            <a:avLst/>
          </a:prstGeom>
        </p:spPr>
      </p:pic>
      <p:sp>
        <p:nvSpPr>
          <p:cNvPr id="8" name="文本框 7"/>
          <p:cNvSpPr txBox="1"/>
          <p:nvPr/>
        </p:nvSpPr>
        <p:spPr>
          <a:xfrm>
            <a:off x="800100" y="2427605"/>
            <a:ext cx="250190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修改为Master端的主机IP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1400" y="2764790"/>
            <a:ext cx="2505075" cy="190500"/>
          </a:xfrm>
          <a:prstGeom prst="rect">
            <a:avLst/>
          </a:prstGeom>
        </p:spPr>
      </p:pic>
      <p:sp>
        <p:nvSpPr>
          <p:cNvPr id="10" name="文本框 9"/>
          <p:cNvSpPr txBox="1"/>
          <p:nvPr/>
        </p:nvSpPr>
        <p:spPr>
          <a:xfrm>
            <a:off x="800100" y="3094990"/>
            <a:ext cx="10629265" cy="1076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    如果Redis主服务器只绑定了127.0.0.1，那么跨服务器IP的访问就会失败，也就是只能本机才能访问，外部请求会被过滤，这是Linux的网络安全策略管理的。如果bind的IP地址只是192.168.11.10，那么本机通过localhost和127.0.0.1、或者直接输入命令redis-cli登录本机Redis也就会失败了。所以跨服务器访问Redis, 需要加上服务器IP才能访问到。</a:t>
            </a:r>
          </a:p>
        </p:txBody>
      </p:sp>
      <p:sp>
        <p:nvSpPr>
          <p:cNvPr id="11" name="文本框 10"/>
          <p:cNvSpPr txBox="1"/>
          <p:nvPr/>
        </p:nvSpPr>
        <p:spPr>
          <a:xfrm>
            <a:off x="800100" y="4241165"/>
            <a:ext cx="153924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运行Redis服务</a:t>
            </a: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41400" y="4648200"/>
            <a:ext cx="3790950" cy="180975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主从复制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669925" y="910590"/>
            <a:ext cx="348361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0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Redis主从</a:t>
            </a:r>
            <a:r>
              <a:rPr lang="zh-CN" altLang="en-US" sz="2400">
                <a:sym typeface="+mn-ea"/>
              </a:rPr>
              <a:t>模式安装过程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828040" y="1370965"/>
            <a:ext cx="217487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Slave1端操作如下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828040" y="1708150"/>
            <a:ext cx="237172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修改 Redis的配置文件</a:t>
            </a: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6625" y="2045335"/>
            <a:ext cx="3143250" cy="161925"/>
          </a:xfrm>
          <a:prstGeom prst="rect">
            <a:avLst/>
          </a:prstGeom>
        </p:spPr>
      </p:pic>
      <p:sp>
        <p:nvSpPr>
          <p:cNvPr id="4" name="文本框 3"/>
          <p:cNvSpPr txBox="1"/>
          <p:nvPr/>
        </p:nvSpPr>
        <p:spPr>
          <a:xfrm>
            <a:off x="828040" y="2207260"/>
            <a:ext cx="254825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添加Master端的IP与端口</a:t>
            </a:r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0270" y="2544445"/>
            <a:ext cx="2247900" cy="200025"/>
          </a:xfrm>
          <a:prstGeom prst="rect">
            <a:avLst/>
          </a:prstGeom>
        </p:spPr>
      </p:pic>
      <p:sp>
        <p:nvSpPr>
          <p:cNvPr id="14" name="文本框 13"/>
          <p:cNvSpPr txBox="1"/>
          <p:nvPr/>
        </p:nvSpPr>
        <p:spPr>
          <a:xfrm>
            <a:off x="828040" y="2754630"/>
            <a:ext cx="833120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添加 Mater端的IP(192.168.11.10)和端口(6379),中间用空格分隔，然后保存 redis.conf文件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828040" y="3152775"/>
            <a:ext cx="358457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运行Slave1端(192.168.11.11)的Redis</a:t>
            </a:r>
          </a:p>
        </p:txBody>
      </p:sp>
      <p:pic>
        <p:nvPicPr>
          <p:cNvPr id="16" name="图片 1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90270" y="3550920"/>
            <a:ext cx="3810000" cy="180975"/>
          </a:xfrm>
          <a:prstGeom prst="rect">
            <a:avLst/>
          </a:prstGeom>
        </p:spPr>
      </p:pic>
      <p:sp>
        <p:nvSpPr>
          <p:cNvPr id="17" name="文本框 16"/>
          <p:cNvSpPr txBox="1"/>
          <p:nvPr/>
        </p:nvSpPr>
        <p:spPr>
          <a:xfrm>
            <a:off x="828040" y="3746500"/>
            <a:ext cx="215582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查询Slave1运行日志</a:t>
            </a:r>
          </a:p>
        </p:txBody>
      </p:sp>
      <p:pic>
        <p:nvPicPr>
          <p:cNvPr id="328" name="图片 32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90270" y="4138295"/>
            <a:ext cx="5274310" cy="1073150"/>
          </a:xfrm>
          <a:prstGeom prst="rect">
            <a:avLst/>
          </a:prstGeom>
        </p:spPr>
      </p:pic>
      <p:sp>
        <p:nvSpPr>
          <p:cNvPr id="18" name="文本框 17"/>
          <p:cNvSpPr txBox="1"/>
          <p:nvPr/>
        </p:nvSpPr>
        <p:spPr>
          <a:xfrm>
            <a:off x="6485890" y="3746500"/>
            <a:ext cx="169227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查询Master日志</a:t>
            </a:r>
          </a:p>
        </p:txBody>
      </p:sp>
      <p:pic>
        <p:nvPicPr>
          <p:cNvPr id="333" name="图片 33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85890" y="4138295"/>
            <a:ext cx="5274310" cy="92202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主从复制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669925" y="910590"/>
            <a:ext cx="348361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0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Redis主从</a:t>
            </a:r>
            <a:r>
              <a:rPr lang="zh-CN" altLang="en-US" sz="2400">
                <a:sym typeface="+mn-ea"/>
              </a:rPr>
              <a:t>模式安装过程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828040" y="1370965"/>
            <a:ext cx="217487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Slave2端操作如下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828040" y="1680845"/>
            <a:ext cx="471805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修改 Redis的配置文件</a:t>
            </a:r>
            <a:r>
              <a:rPr lang="zh-CN" altLang="en-US" sz="1600">
                <a:sym typeface="+mn-ea"/>
              </a:rPr>
              <a:t>，</a:t>
            </a:r>
            <a:r>
              <a:rPr lang="en-US" sz="1600">
                <a:sym typeface="+mn-ea"/>
              </a:rPr>
              <a:t>添加Master端的IP与端口</a:t>
            </a: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0270" y="2245995"/>
            <a:ext cx="3200400" cy="381000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828040" y="2626995"/>
            <a:ext cx="8331200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添加 Mater端的IP(192.168.1.10)和端口(6379),中间用空格分隔，然后保存 redis.conf文件。</a:t>
            </a:r>
          </a:p>
          <a:p>
            <a:pPr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运行Slave2端(192.168.11.12)的Redis</a:t>
            </a: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0270" y="3456940"/>
            <a:ext cx="3724275" cy="171450"/>
          </a:xfrm>
          <a:prstGeom prst="rect">
            <a:avLst/>
          </a:prstGeom>
        </p:spPr>
      </p:pic>
      <p:sp>
        <p:nvSpPr>
          <p:cNvPr id="9" name="文本框 8"/>
          <p:cNvSpPr txBox="1"/>
          <p:nvPr/>
        </p:nvSpPr>
        <p:spPr>
          <a:xfrm>
            <a:off x="890270" y="3628390"/>
            <a:ext cx="2025015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查询Slave2运行日志</a:t>
            </a:r>
          </a:p>
        </p:txBody>
      </p:sp>
      <p:pic>
        <p:nvPicPr>
          <p:cNvPr id="335" name="图片 33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90270" y="4088448"/>
            <a:ext cx="5274310" cy="1035685"/>
          </a:xfrm>
          <a:prstGeom prst="rect">
            <a:avLst/>
          </a:prstGeom>
        </p:spPr>
      </p:pic>
      <p:sp>
        <p:nvSpPr>
          <p:cNvPr id="10" name="文本框 9"/>
          <p:cNvSpPr txBox="1"/>
          <p:nvPr/>
        </p:nvSpPr>
        <p:spPr>
          <a:xfrm>
            <a:off x="828040" y="5264785"/>
            <a:ext cx="9414510" cy="6813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lnSpc>
                <a:spcPct val="12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结果与Slave1类似，只不过Slave2与Slave1（192.168.11.11:6379）建立连接，在同步数据中，Redis的主从级联复制便是这样，Master -&gt; Slave1 -&gt; Slave2。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主从复制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669925" y="910590"/>
            <a:ext cx="348361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0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Redis</a:t>
            </a:r>
            <a:r>
              <a:rPr sz="2400">
                <a:sym typeface="+mn-ea"/>
              </a:rPr>
              <a:t>测试主从复制关系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669925" y="1370965"/>
            <a:ext cx="416496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1 通过 info replication命令查看节点角色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669925" y="1680845"/>
            <a:ext cx="10470515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    在主节点(192.168.11.10)输入info replication命令查看节点角色会发现角色是Master有2个从节点Slave1(192.168.11.11)和Slave2(192.168.11.12)，如下图所示。</a:t>
            </a:r>
          </a:p>
        </p:txBody>
      </p:sp>
      <p:pic>
        <p:nvPicPr>
          <p:cNvPr id="336" name="图片 33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9485" y="2625090"/>
            <a:ext cx="3970020" cy="1607820"/>
          </a:xfrm>
          <a:prstGeom prst="rect">
            <a:avLst/>
          </a:prstGeom>
        </p:spPr>
      </p:pic>
      <p:sp>
        <p:nvSpPr>
          <p:cNvPr id="11" name="文本框 10"/>
          <p:cNvSpPr txBox="1"/>
          <p:nvPr/>
        </p:nvSpPr>
        <p:spPr>
          <a:xfrm>
            <a:off x="669925" y="4232910"/>
            <a:ext cx="10629265" cy="15684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    在info replication命令的返回信息中“slave0:ip=192.168.11.11,port=6379,</a:t>
            </a:r>
          </a:p>
          <a:p>
            <a:pPr lvl="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state=online,offset=1681,lag=0”，表示slave0是个Slave从节点，使用的ip是192.168.11.11，port是6379, state是online在线状态，这里的slave0对应上一节中配置的Slave1从节点, 同理在返回信息中的slave1对应上一节中配置的Slave2从节点。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主从复制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669925" y="910590"/>
            <a:ext cx="348361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0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Redis</a:t>
            </a:r>
            <a:r>
              <a:rPr sz="2400">
                <a:sym typeface="+mn-ea"/>
              </a:rPr>
              <a:t>测试主从复制关系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669925" y="1370965"/>
            <a:ext cx="402399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1 通过 info replication命令查看节点角色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669925" y="1708150"/>
            <a:ext cx="10358120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在从节点(192.168.11.11)输入info replication命令查看节点角色，会发现节点角色是Slave,它的主节点IP是 192.168.11.10，端口是6379。</a:t>
            </a:r>
          </a:p>
        </p:txBody>
      </p:sp>
      <p:pic>
        <p:nvPicPr>
          <p:cNvPr id="337" name="图片 33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60120" y="2762250"/>
            <a:ext cx="3444240" cy="210312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主从复制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669925" y="910590"/>
            <a:ext cx="348361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0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Redis</a:t>
            </a:r>
            <a:r>
              <a:rPr sz="2400">
                <a:sym typeface="+mn-ea"/>
              </a:rPr>
              <a:t>测试主从复制关系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669925" y="1370965"/>
            <a:ext cx="402399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1 通过 info replication命令查看节点角色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669925" y="1708150"/>
            <a:ext cx="10358120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在从节点(192.168.11.12)输入info replication命令查看节点角色，也会发现节点角色是Slave,它的主节点IP是 192.168.11.10，端口是6379。</a:t>
            </a:r>
          </a:p>
        </p:txBody>
      </p:sp>
      <p:pic>
        <p:nvPicPr>
          <p:cNvPr id="37" name="图片 3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0915" y="2771775"/>
            <a:ext cx="3421380" cy="209550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主从复制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669925" y="910590"/>
            <a:ext cx="348361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0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Redis</a:t>
            </a:r>
            <a:r>
              <a:rPr sz="2400">
                <a:sym typeface="+mn-ea"/>
              </a:rPr>
              <a:t>测试主从复制关系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669925" y="1370965"/>
            <a:ext cx="209994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2 测试主从读写分离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669925" y="1708150"/>
            <a:ext cx="467614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在Master端操作如下，然后客户端验证同步结果</a:t>
            </a: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0570" y="2045335"/>
            <a:ext cx="3124200" cy="704850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669925" y="2750185"/>
            <a:ext cx="252793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在Slave1端验证同步结果</a:t>
            </a: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0570" y="3087370"/>
            <a:ext cx="4286250" cy="1066800"/>
          </a:xfrm>
          <a:prstGeom prst="rect">
            <a:avLst/>
          </a:prstGeom>
        </p:spPr>
      </p:pic>
      <p:sp>
        <p:nvSpPr>
          <p:cNvPr id="8" name="文本框 7"/>
          <p:cNvSpPr txBox="1"/>
          <p:nvPr/>
        </p:nvSpPr>
        <p:spPr>
          <a:xfrm>
            <a:off x="689610" y="4154170"/>
            <a:ext cx="250825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在Slave2端验证同步结果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50570" y="4466590"/>
            <a:ext cx="4438650" cy="1057275"/>
          </a:xfrm>
          <a:prstGeom prst="rect">
            <a:avLst/>
          </a:prstGeom>
        </p:spPr>
      </p:pic>
      <p:sp>
        <p:nvSpPr>
          <p:cNvPr id="10" name="文本框 9"/>
          <p:cNvSpPr txBox="1"/>
          <p:nvPr/>
        </p:nvSpPr>
        <p:spPr>
          <a:xfrm>
            <a:off x="669925" y="5558155"/>
            <a:ext cx="8434070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   只能在主节点执行写操作，在从节点执行写操作会报异常(error) READONLY You can't write against a read only replica.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主从复制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669925" y="910590"/>
            <a:ext cx="348361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0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Redis</a:t>
            </a:r>
            <a:r>
              <a:rPr sz="2400">
                <a:sym typeface="+mn-ea"/>
              </a:rPr>
              <a:t>测试主从复制关系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669925" y="1370965"/>
            <a:ext cx="209994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3 测试主</a:t>
            </a:r>
            <a:r>
              <a:rPr lang="zh-CN" altLang="en-US" sz="1600">
                <a:sym typeface="+mn-ea"/>
              </a:rPr>
              <a:t>节点宕机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669925" y="1680845"/>
            <a:ext cx="735266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本实验测试当Master(主节点)挂掉，两个Slave(从节点)的角色会发生变化吗？</a:t>
            </a:r>
          </a:p>
        </p:txBody>
      </p:sp>
      <p:sp>
        <p:nvSpPr>
          <p:cNvPr id="11" name="文本框 10"/>
          <p:cNvSpPr txBox="1"/>
          <p:nvPr/>
        </p:nvSpPr>
        <p:spPr>
          <a:xfrm>
            <a:off x="669925" y="2018030"/>
            <a:ext cx="639318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首先，在主节点使用shutdown命令，模拟机器故障停止主节点的服务</a:t>
            </a: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2160" y="2355215"/>
            <a:ext cx="4181475" cy="371475"/>
          </a:xfrm>
          <a:prstGeom prst="rect">
            <a:avLst/>
          </a:prstGeom>
        </p:spPr>
      </p:pic>
      <p:sp>
        <p:nvSpPr>
          <p:cNvPr id="13" name="文本框 12"/>
          <p:cNvSpPr txBox="1"/>
          <p:nvPr/>
        </p:nvSpPr>
        <p:spPr>
          <a:xfrm>
            <a:off x="669925" y="2726690"/>
            <a:ext cx="10753725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然后，在从节点使用info replication命令查看角色，从下图中可以看出当主节点挂掉后，从节点的角色没有发生改变还是Slave, 不过master_link_status的状态变为down,意味着此时从节点只能执行读取命令操作，无法承担起主节点的任务，在从节点只能执行读操作。</a:t>
            </a:r>
          </a:p>
        </p:txBody>
      </p:sp>
      <p:pic>
        <p:nvPicPr>
          <p:cNvPr id="40" name="图片 4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77290" y="3556635"/>
            <a:ext cx="3168015" cy="2028190"/>
          </a:xfrm>
          <a:prstGeom prst="rect">
            <a:avLst/>
          </a:prstGeom>
        </p:spPr>
      </p:pic>
      <p:pic>
        <p:nvPicPr>
          <p:cNvPr id="60" name="图片 6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20920" y="3556635"/>
            <a:ext cx="3223260" cy="2022475"/>
          </a:xfrm>
          <a:prstGeom prst="rect">
            <a:avLst/>
          </a:prstGeom>
        </p:spPr>
      </p:pic>
      <p:sp>
        <p:nvSpPr>
          <p:cNvPr id="14" name="文本框 13"/>
          <p:cNvSpPr txBox="1"/>
          <p:nvPr/>
        </p:nvSpPr>
        <p:spPr>
          <a:xfrm>
            <a:off x="669925" y="5579110"/>
            <a:ext cx="10753725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通过主从配置的实验，我们可以看出Master(主节点) 只有一个，一旦主节点挂掉之后，从节点没法担起主节点的任务，那么整个系统也无法运行。如果主节点挂掉之后，从节点能够自动变成主节点，那么问题就解决了，于是哨兵模式诞生了，这就是我们下一节主要讨论的内容。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1778000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哨兵模式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555625" y="1064895"/>
            <a:ext cx="3672205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灾备切换 Sentinel 的使用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669925" y="1525270"/>
            <a:ext cx="10844530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Redis在2.6版本开始提供了哨兵模式，到Redis的2.8版本以后该模式正式稳定。Sentinel（哨兵）进程监控Redis集群中Master主服务器工作的状态，在Master发生故障的时候，可以实现Master和Slave的切换，保证系统的高可用。哨兵机制的出现是为了解决主从复制的缺点的，如下图所示</a:t>
            </a:r>
          </a:p>
        </p:txBody>
      </p:sp>
      <p:pic>
        <p:nvPicPr>
          <p:cNvPr id="97" name="图片 9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23315" y="2354898"/>
            <a:ext cx="5274310" cy="3696335"/>
          </a:xfrm>
          <a:prstGeom prst="rect">
            <a:avLst/>
          </a:prstGeom>
          <a:noFill/>
          <a:ln>
            <a:noFill/>
          </a:ln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1778000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哨兵模式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756920" y="1048385"/>
            <a:ext cx="4765675" cy="15684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哨兵模式的基本概念：</a:t>
            </a:r>
          </a:p>
          <a:p>
            <a:pPr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主节点: Redis的主数据库，写入都在这个节点上。</a:t>
            </a:r>
          </a:p>
          <a:p>
            <a:pPr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从节点: Redis的从数据库，读取都在这个节点上。</a:t>
            </a:r>
          </a:p>
          <a:p>
            <a:pPr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Sentinel节点：哨兵节点，监控各个节点的状态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756920" y="2616835"/>
            <a:ext cx="375983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0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基于哨兵模式的高可用架构图如下所示。</a:t>
            </a:r>
          </a:p>
        </p:txBody>
      </p:sp>
      <p:pic>
        <p:nvPicPr>
          <p:cNvPr id="79" name="图片 79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016760" y="2953703"/>
            <a:ext cx="2679700" cy="3082925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文本框 2"/>
          <p:cNvSpPr txBox="1"/>
          <p:nvPr/>
        </p:nvSpPr>
        <p:spPr>
          <a:xfrm>
            <a:off x="5146040" y="3525838"/>
            <a:ext cx="5080000" cy="1938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在这个架构中，复制主要是讲主节点的数据同步到从节点，这样做的主要原因有两个：</a:t>
            </a:r>
          </a:p>
          <a:p>
            <a:pPr lvl="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1. 一旦主节点挂机了，从节点可以作为主节点的备份随时成为新的主节点。</a:t>
            </a:r>
          </a:p>
          <a:p>
            <a:pPr lvl="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2. 从节点可以作为主节点分担读的压力。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62095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推荐教材</a:t>
            </a:r>
          </a:p>
        </p:txBody>
      </p:sp>
      <p:sp>
        <p:nvSpPr>
          <p:cNvPr id="17" name="文本框 16"/>
          <p:cNvSpPr txBox="1"/>
          <p:nvPr/>
        </p:nvSpPr>
        <p:spPr>
          <a:xfrm>
            <a:off x="4651235" y="1114767"/>
            <a:ext cx="7017023" cy="31588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20000"/>
              </a:lnSpc>
              <a:spcAft>
                <a:spcPts val="600"/>
              </a:spcAft>
            </a:pPr>
            <a:r>
              <a:rPr lang="zh-CN" altLang="en-US" sz="2800" dirty="0" smtClean="0">
                <a:solidFill>
                  <a:srgbClr val="0000FF"/>
                </a:solidFill>
              </a:rPr>
              <a:t>《</a:t>
            </a:r>
            <a:r>
              <a:rPr lang="en-US" altLang="zh-CN" sz="2800" dirty="0" err="1">
                <a:solidFill>
                  <a:srgbClr val="0000FF"/>
                </a:solidFill>
              </a:rPr>
              <a:t>Redis</a:t>
            </a:r>
            <a:r>
              <a:rPr lang="en-US" altLang="zh-CN" sz="2800" dirty="0">
                <a:solidFill>
                  <a:srgbClr val="0000FF"/>
                </a:solidFill>
              </a:rPr>
              <a:t> 6 </a:t>
            </a:r>
            <a:r>
              <a:rPr lang="zh-CN" altLang="en-US" sz="2800" dirty="0">
                <a:solidFill>
                  <a:srgbClr val="0000FF"/>
                </a:solidFill>
              </a:rPr>
              <a:t>开发与</a:t>
            </a:r>
            <a:r>
              <a:rPr lang="zh-CN" altLang="en-US" sz="2800" dirty="0" smtClean="0">
                <a:solidFill>
                  <a:srgbClr val="0000FF"/>
                </a:solidFill>
              </a:rPr>
              <a:t>实战 》</a:t>
            </a:r>
            <a:endParaRPr lang="zh-CN" altLang="en-US" sz="2800" dirty="0">
              <a:solidFill>
                <a:srgbClr val="0000FF"/>
              </a:solidFill>
            </a:endParaRPr>
          </a:p>
          <a:p>
            <a:pPr algn="just">
              <a:lnSpc>
                <a:spcPct val="120000"/>
              </a:lnSpc>
              <a:spcBef>
                <a:spcPts val="500"/>
              </a:spcBef>
            </a:pPr>
            <a:r>
              <a:rPr lang="zh-CN" altLang="en-US" sz="2400" dirty="0"/>
              <a:t>作者</a:t>
            </a:r>
            <a:r>
              <a:rPr lang="zh-CN" altLang="en-US" sz="2400" dirty="0" smtClean="0"/>
              <a:t>：张云河</a:t>
            </a:r>
            <a:r>
              <a:rPr lang="zh-CN" altLang="en-US" sz="2400" dirty="0" smtClean="0">
                <a:sym typeface="+mn-ea"/>
              </a:rPr>
              <a:t>、王硕</a:t>
            </a:r>
            <a:endParaRPr lang="zh-CN" altLang="en-US" sz="2400" dirty="0">
              <a:sym typeface="+mn-ea"/>
            </a:endParaRPr>
          </a:p>
          <a:p>
            <a:pPr algn="just">
              <a:lnSpc>
                <a:spcPct val="120000"/>
              </a:lnSpc>
              <a:spcBef>
                <a:spcPts val="500"/>
              </a:spcBef>
            </a:pPr>
            <a:r>
              <a:rPr lang="zh-CN" altLang="en-US" sz="2400" dirty="0">
                <a:sym typeface="+mn-ea"/>
              </a:rPr>
              <a:t>出版：人民邮电出版社</a:t>
            </a:r>
          </a:p>
          <a:p>
            <a:pPr algn="just">
              <a:lnSpc>
                <a:spcPct val="120000"/>
              </a:lnSpc>
              <a:spcBef>
                <a:spcPts val="500"/>
              </a:spcBef>
            </a:pPr>
            <a:r>
              <a:rPr lang="zh-CN" altLang="en-US" sz="2400" dirty="0">
                <a:sym typeface="+mn-ea"/>
              </a:rPr>
              <a:t>配套</a:t>
            </a:r>
            <a:r>
              <a:rPr lang="zh-CN" altLang="en-US" sz="2400" dirty="0" smtClean="0">
                <a:sym typeface="+mn-ea"/>
              </a:rPr>
              <a:t>：</a:t>
            </a:r>
            <a:r>
              <a:rPr lang="en-US" altLang="zh-CN" sz="2400" dirty="0" smtClean="0">
                <a:sym typeface="+mn-ea"/>
              </a:rPr>
              <a:t>PPT+</a:t>
            </a:r>
            <a:r>
              <a:rPr lang="zh-CN" altLang="en-US" sz="2400" dirty="0">
                <a:sym typeface="+mn-ea"/>
              </a:rPr>
              <a:t>实验指导</a:t>
            </a:r>
          </a:p>
          <a:p>
            <a:pPr algn="just">
              <a:lnSpc>
                <a:spcPct val="120000"/>
              </a:lnSpc>
              <a:spcBef>
                <a:spcPts val="500"/>
              </a:spcBef>
            </a:pPr>
            <a:r>
              <a:rPr lang="zh-CN" altLang="en-US" sz="2400" dirty="0"/>
              <a:t>特点</a:t>
            </a:r>
            <a:r>
              <a:rPr lang="zh-CN" altLang="en-US" sz="2400" dirty="0" smtClean="0"/>
              <a:t>：</a:t>
            </a:r>
            <a:r>
              <a:rPr lang="zh-CN" altLang="en-US" sz="2400" dirty="0" smtClean="0">
                <a:solidFill>
                  <a:srgbClr val="FF0000"/>
                </a:solidFill>
              </a:rPr>
              <a:t>覆盖</a:t>
            </a:r>
            <a:r>
              <a:rPr lang="en-US" altLang="zh-CN" sz="2400" dirty="0" err="1" smtClean="0">
                <a:solidFill>
                  <a:srgbClr val="FF0000"/>
                </a:solidFill>
              </a:rPr>
              <a:t>Redis</a:t>
            </a:r>
            <a:r>
              <a:rPr lang="en-US" altLang="zh-CN" sz="2400" dirty="0" smtClean="0">
                <a:solidFill>
                  <a:srgbClr val="FF0000"/>
                </a:solidFill>
              </a:rPr>
              <a:t> 6</a:t>
            </a:r>
            <a:r>
              <a:rPr lang="zh-CN" altLang="en-US" sz="2400" dirty="0" smtClean="0">
                <a:solidFill>
                  <a:srgbClr val="FF0000"/>
                </a:solidFill>
              </a:rPr>
              <a:t>版本的绝大部分核心特性</a:t>
            </a:r>
            <a:r>
              <a:rPr lang="zh-CN" altLang="en-US" sz="2400" dirty="0" smtClean="0"/>
              <a:t>，面向初学者的行文分格，加上大量的辅助图片等</a:t>
            </a:r>
            <a:r>
              <a:rPr lang="zh-CN" altLang="en-US" sz="2400" dirty="0"/>
              <a:t>。</a:t>
            </a:r>
          </a:p>
        </p:txBody>
      </p:sp>
      <p:sp>
        <p:nvSpPr>
          <p:cNvPr id="12" name="任意多边形: 形状 11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14" name="图片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13" name="图片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1762491"/>
            <a:ext cx="3353401" cy="4698348"/>
          </a:xfrm>
          <a:prstGeom prst="rect">
            <a:avLst/>
          </a:prstGeom>
        </p:spPr>
      </p:pic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1778000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哨兵模式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756920" y="1048385"/>
            <a:ext cx="10477500" cy="22917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0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哨兵进程的作用</a:t>
            </a:r>
          </a:p>
          <a:p>
            <a:pPr algn="just">
              <a:lnSpc>
                <a:spcPct val="10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1) 监控（Monitoring）：哨兵进程会不断地检查Master和Slave是否运作正常。</a:t>
            </a:r>
          </a:p>
          <a:p>
            <a:pPr algn="just">
              <a:lnSpc>
                <a:spcPct val="10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2) 提醒（Notification）：当被监控的某个Redis节点出现问题时，哨兵(sentinel) 可以通过 API 向管理员或者其他应用程序发送通知。</a:t>
            </a:r>
          </a:p>
          <a:p>
            <a:pPr algn="just">
              <a:lnSpc>
                <a:spcPct val="10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3) 自动故障迁移（Automatic failover）：当一个Master不能正常工作时，哨兵会开始一次自动故障迁移操作，它会将失效Master的其中一个Slave升级为新的Master，并让失效Master的其他Slave改为复制新的Master。当客户端试图连接失效的Master时，集群也会向客户端返回新Master的地址，使得集群可以使用现在的Master替换失效Master。如下图所示：</a:t>
            </a:r>
          </a:p>
        </p:txBody>
      </p:sp>
      <p:pic>
        <p:nvPicPr>
          <p:cNvPr id="11270" name="图片 1127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06370" y="3175635"/>
            <a:ext cx="4032885" cy="2126615"/>
          </a:xfrm>
          <a:prstGeom prst="rect">
            <a:avLst/>
          </a:prstGeom>
        </p:spPr>
      </p:pic>
      <p:sp>
        <p:nvSpPr>
          <p:cNvPr id="4" name="文本框 3"/>
          <p:cNvSpPr txBox="1"/>
          <p:nvPr/>
        </p:nvSpPr>
        <p:spPr>
          <a:xfrm>
            <a:off x="756920" y="5443855"/>
            <a:ext cx="945324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4) 配置提供者：在哨兵模式下，客户端应用在初始化时连接的是哨兵节点集合，从中获取主节点的信息。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6967855" y="3455035"/>
            <a:ext cx="4266565" cy="13220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部署技巧</a:t>
            </a:r>
            <a:r>
              <a:rPr lang="zh-CN" altLang="en-US" sz="1600">
                <a:sym typeface="+mn-ea"/>
              </a:rPr>
              <a:t>：</a:t>
            </a:r>
            <a:endParaRPr lang="en-US" sz="1600">
              <a:sym typeface="+mn-ea"/>
            </a:endParaRPr>
          </a:p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1 在生产环境中Sentinel节点不应该部署在一台物理“机器”上。</a:t>
            </a:r>
          </a:p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2 在生产环境中部署至少三个且奇数个的Sentinel节点。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1778000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哨兵模式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669925" y="1064895"/>
            <a:ext cx="411861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Redis Sentinel 的安装与配置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669925" y="1455420"/>
            <a:ext cx="8369300" cy="6604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本节我们配置一个 Master和两个Slave，将在一台服务器上部署Redis服务器和Sentinel实例</a:t>
            </a:r>
            <a:r>
              <a:rPr lang="zh-CN" altLang="en-US" sz="1600">
                <a:sym typeface="+mn-ea"/>
              </a:rPr>
              <a:t>，</a:t>
            </a:r>
            <a:endParaRPr lang="en-US" sz="1600">
              <a:sym typeface="+mn-ea"/>
            </a:endParaRPr>
          </a:p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IP地址和端口号如下所示</a:t>
            </a:r>
            <a:r>
              <a:rPr lang="zh-CN" altLang="en-US" sz="1600">
                <a:sym typeface="+mn-ea"/>
              </a:rPr>
              <a:t>：</a:t>
            </a:r>
          </a:p>
        </p:txBody>
      </p:sp>
      <p:graphicFrame>
        <p:nvGraphicFramePr>
          <p:cNvPr id="6" name="表格 5"/>
          <p:cNvGraphicFramePr/>
          <p:nvPr>
            <p:custDataLst>
              <p:tags r:id="rId2"/>
            </p:custDataLst>
          </p:nvPr>
        </p:nvGraphicFramePr>
        <p:xfrm>
          <a:off x="1162367" y="2115820"/>
          <a:ext cx="5265738" cy="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316038"/>
                <a:gridCol w="1316037"/>
                <a:gridCol w="1317625"/>
                <a:gridCol w="1316038"/>
              </a:tblGrid>
              <a:tr h="0"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端口</a:t>
                      </a:r>
                      <a:endParaRPr lang="en-US" altLang="en-US" sz="12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系统</a:t>
                      </a:r>
                      <a:endParaRPr lang="en-US" altLang="en-US" sz="12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IP地址</a:t>
                      </a:r>
                      <a:endParaRPr lang="en-US" altLang="en-US" sz="12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角色</a:t>
                      </a:r>
                      <a:endParaRPr lang="en-US" altLang="en-US" sz="12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7</a:t>
                      </a:r>
                      <a:r>
                        <a:rPr lang="en-US" sz="1200" b="0">
                          <a:latin typeface="Calibri" panose="020F0502020204030204" charset="0"/>
                          <a:cs typeface="Calibri" panose="020F0502020204030204" charset="0"/>
                        </a:rPr>
                        <a:t>000</a:t>
                      </a:r>
                      <a:endParaRPr lang="en-US" altLang="en-US" sz="1200" b="0">
                        <a:latin typeface="Calibri" panose="020F0502020204030204" charset="0"/>
                        <a:ea typeface="宋体" panose="02010600030101010101" pitchFamily="2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6"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Calibri" panose="020F0502020204030204" charset="0"/>
                          <a:cs typeface="Calibri" panose="020F0502020204030204" charset="0"/>
                        </a:rPr>
                        <a:t>  </a:t>
                      </a: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CentOS</a:t>
                      </a:r>
                      <a:r>
                        <a:rPr lang="en-US" sz="1200" b="0">
                          <a:latin typeface="Calibri" panose="020F0502020204030204" charset="0"/>
                          <a:cs typeface="Calibri" panose="020F0502020204030204" charset="0"/>
                        </a:rPr>
                        <a:t>7 X86</a:t>
                      </a: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_</a:t>
                      </a:r>
                      <a:r>
                        <a:rPr lang="en-US" sz="1200" b="0">
                          <a:latin typeface="Calibri" panose="020F0502020204030204" charset="0"/>
                          <a:cs typeface="Calibri" panose="020F0502020204030204" charset="0"/>
                        </a:rPr>
                        <a:t>64</a:t>
                      </a:r>
                      <a:endParaRPr lang="en-US" altLang="en-US" sz="12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6"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Calibri" panose="020F0502020204030204" charset="0"/>
                          <a:cs typeface="Calibri" panose="020F0502020204030204" charset="0"/>
                        </a:rPr>
                        <a:t>  </a:t>
                      </a: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1</a:t>
                      </a:r>
                      <a:r>
                        <a:rPr lang="en-US" sz="1200" b="0">
                          <a:latin typeface="Calibri" panose="020F0502020204030204" charset="0"/>
                          <a:cs typeface="Calibri" panose="020F0502020204030204" charset="0"/>
                        </a:rPr>
                        <a:t>92.168.11.13</a:t>
                      </a:r>
                      <a:endParaRPr lang="en-US" altLang="en-US" sz="12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Calibri" panose="020F0502020204030204" charset="0"/>
                          <a:cs typeface="Calibri" panose="020F0502020204030204" charset="0"/>
                        </a:rPr>
                        <a:t>Master</a:t>
                      </a:r>
                      <a:endParaRPr lang="en-US" altLang="en-US" sz="12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7</a:t>
                      </a:r>
                      <a:r>
                        <a:rPr lang="en-US" sz="1200" b="0">
                          <a:latin typeface="Calibri" panose="020F0502020204030204" charset="0"/>
                          <a:cs typeface="Calibri" panose="020F0502020204030204" charset="0"/>
                        </a:rPr>
                        <a:t>001</a:t>
                      </a:r>
                      <a:endParaRPr lang="en-US" altLang="en-US" sz="1200" b="0">
                        <a:latin typeface="Calibri" panose="020F0502020204030204" charset="0"/>
                        <a:ea typeface="宋体" panose="02010600030101010101" pitchFamily="2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S</a:t>
                      </a:r>
                      <a:r>
                        <a:rPr lang="en-US" sz="1200" b="0">
                          <a:latin typeface="Calibri" panose="020F0502020204030204" charset="0"/>
                          <a:cs typeface="Calibri" panose="020F0502020204030204" charset="0"/>
                        </a:rPr>
                        <a:t>alve1</a:t>
                      </a:r>
                      <a:endParaRPr lang="en-US" altLang="en-US" sz="1200" b="0">
                        <a:latin typeface="Calibri" panose="020F0502020204030204" charset="0"/>
                        <a:ea typeface="宋体" panose="02010600030101010101" pitchFamily="2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7</a:t>
                      </a:r>
                      <a:r>
                        <a:rPr lang="en-US" sz="1200" b="0">
                          <a:latin typeface="Calibri" panose="020F0502020204030204" charset="0"/>
                          <a:cs typeface="Calibri" panose="020F0502020204030204" charset="0"/>
                        </a:rPr>
                        <a:t>002</a:t>
                      </a:r>
                      <a:endParaRPr lang="en-US" altLang="en-US" sz="1200" b="0">
                        <a:latin typeface="Calibri" panose="020F0502020204030204" charset="0"/>
                        <a:ea typeface="宋体" panose="02010600030101010101" pitchFamily="2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S</a:t>
                      </a:r>
                      <a:r>
                        <a:rPr lang="en-US" sz="1200" b="0">
                          <a:latin typeface="Calibri" panose="020F0502020204030204" charset="0"/>
                          <a:cs typeface="Calibri" panose="020F0502020204030204" charset="0"/>
                        </a:rPr>
                        <a:t>lave2</a:t>
                      </a:r>
                      <a:endParaRPr lang="en-US" altLang="en-US" sz="1200" b="0">
                        <a:latin typeface="Calibri" panose="020F0502020204030204" charset="0"/>
                        <a:ea typeface="宋体" panose="02010600030101010101" pitchFamily="2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2</a:t>
                      </a:r>
                      <a:r>
                        <a:rPr lang="en-US" sz="1200" b="0">
                          <a:latin typeface="Calibri" panose="020F0502020204030204" charset="0"/>
                          <a:cs typeface="Calibri" panose="020F0502020204030204" charset="0"/>
                        </a:rPr>
                        <a:t>6379</a:t>
                      </a:r>
                      <a:endParaRPr lang="en-US" altLang="en-US" sz="1200" b="0">
                        <a:latin typeface="Calibri" panose="020F0502020204030204" charset="0"/>
                        <a:ea typeface="宋体" panose="02010600030101010101" pitchFamily="2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Se</a:t>
                      </a:r>
                      <a:r>
                        <a:rPr lang="en-US" sz="1200" b="0">
                          <a:latin typeface="Calibri" panose="020F0502020204030204" charset="0"/>
                          <a:cs typeface="Calibri" panose="020F0502020204030204" charset="0"/>
                        </a:rPr>
                        <a:t>ntinel1</a:t>
                      </a:r>
                      <a:endParaRPr lang="en-US" altLang="en-US" sz="1200" b="0">
                        <a:latin typeface="Calibri" panose="020F0502020204030204" charset="0"/>
                        <a:ea typeface="宋体" panose="02010600030101010101" pitchFamily="2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2</a:t>
                      </a:r>
                      <a:r>
                        <a:rPr lang="en-US" sz="1200" b="0">
                          <a:latin typeface="Calibri" panose="020F0502020204030204" charset="0"/>
                          <a:cs typeface="Calibri" panose="020F0502020204030204" charset="0"/>
                        </a:rPr>
                        <a:t>6380</a:t>
                      </a:r>
                      <a:endParaRPr lang="en-US" altLang="en-US" sz="1200" b="0">
                        <a:latin typeface="Calibri" panose="020F0502020204030204" charset="0"/>
                        <a:ea typeface="宋体" panose="02010600030101010101" pitchFamily="2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Se</a:t>
                      </a:r>
                      <a:r>
                        <a:rPr lang="en-US" sz="1200" b="0">
                          <a:latin typeface="Calibri" panose="020F0502020204030204" charset="0"/>
                          <a:cs typeface="Calibri" panose="020F0502020204030204" charset="0"/>
                        </a:rPr>
                        <a:t>ntinel2</a:t>
                      </a:r>
                      <a:endParaRPr lang="en-US" altLang="en-US" sz="1200" b="0">
                        <a:latin typeface="Calibri" panose="020F0502020204030204" charset="0"/>
                        <a:ea typeface="宋体" panose="02010600030101010101" pitchFamily="2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2</a:t>
                      </a:r>
                      <a:r>
                        <a:rPr lang="en-US" sz="1200" b="0">
                          <a:latin typeface="Calibri" panose="020F0502020204030204" charset="0"/>
                          <a:cs typeface="Calibri" panose="020F0502020204030204" charset="0"/>
                        </a:rPr>
                        <a:t>6381</a:t>
                      </a:r>
                      <a:endParaRPr lang="en-US" altLang="en-US" sz="1200" b="0">
                        <a:latin typeface="Calibri" panose="020F0502020204030204" charset="0"/>
                        <a:ea typeface="宋体" panose="02010600030101010101" pitchFamily="2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Se</a:t>
                      </a:r>
                      <a:r>
                        <a:rPr lang="en-US" sz="1200" b="0">
                          <a:latin typeface="Calibri" panose="020F0502020204030204" charset="0"/>
                          <a:cs typeface="Calibri" panose="020F0502020204030204" charset="0"/>
                        </a:rPr>
                        <a:t>ntinel3</a:t>
                      </a:r>
                      <a:endParaRPr lang="en-US" altLang="en-US" sz="1200" b="0">
                        <a:latin typeface="Calibri" panose="020F0502020204030204" charset="0"/>
                        <a:ea typeface="宋体" panose="02010600030101010101" pitchFamily="2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文本框 6"/>
          <p:cNvSpPr txBox="1"/>
          <p:nvPr/>
        </p:nvSpPr>
        <p:spPr>
          <a:xfrm>
            <a:off x="669925" y="3395980"/>
            <a:ext cx="226441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实验的架构图如下所示</a:t>
            </a:r>
          </a:p>
        </p:txBody>
      </p:sp>
      <p:pic>
        <p:nvPicPr>
          <p:cNvPr id="347" name="图片 34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79500" y="3733165"/>
            <a:ext cx="3709035" cy="2539365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1778000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哨兵模式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669925" y="1064895"/>
            <a:ext cx="411861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Redis Sentinel 的安装与配置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669925" y="1525270"/>
            <a:ext cx="194818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第一步：安装Redis 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669925" y="1862455"/>
            <a:ext cx="437197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1，首先，安装gcc基础依赖包，使用如下命令。</a:t>
            </a: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4560" y="2199640"/>
            <a:ext cx="1885950" cy="209550"/>
          </a:xfrm>
          <a:prstGeom prst="rect">
            <a:avLst/>
          </a:prstGeom>
        </p:spPr>
      </p:pic>
      <p:sp>
        <p:nvSpPr>
          <p:cNvPr id="8" name="文本框 7"/>
          <p:cNvSpPr txBox="1"/>
          <p:nvPr/>
        </p:nvSpPr>
        <p:spPr>
          <a:xfrm>
            <a:off x="669925" y="2409190"/>
            <a:ext cx="227266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2, 下载Redis 并解压缩。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4560" y="2746375"/>
            <a:ext cx="4543425" cy="190500"/>
          </a:xfrm>
          <a:prstGeom prst="rect">
            <a:avLst/>
          </a:prstGeom>
        </p:spPr>
      </p:pic>
      <p:sp>
        <p:nvSpPr>
          <p:cNvPr id="10" name="文本框 9"/>
          <p:cNvSpPr txBox="1"/>
          <p:nvPr/>
        </p:nvSpPr>
        <p:spPr>
          <a:xfrm>
            <a:off x="924560" y="2955925"/>
            <a:ext cx="203581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解压缩Redis压缩包。</a:t>
            </a: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24560" y="3274060"/>
            <a:ext cx="2619375" cy="200025"/>
          </a:xfrm>
          <a:prstGeom prst="rect">
            <a:avLst/>
          </a:prstGeom>
        </p:spPr>
      </p:pic>
      <p:sp>
        <p:nvSpPr>
          <p:cNvPr id="12" name="文本框 11"/>
          <p:cNvSpPr txBox="1"/>
          <p:nvPr/>
        </p:nvSpPr>
        <p:spPr>
          <a:xfrm>
            <a:off x="924560" y="3461385"/>
            <a:ext cx="197548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进入解压后的目录。</a:t>
            </a:r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24560" y="3811270"/>
            <a:ext cx="1752600" cy="171450"/>
          </a:xfrm>
          <a:prstGeom prst="rect">
            <a:avLst/>
          </a:prstGeom>
        </p:spPr>
      </p:pic>
      <p:sp>
        <p:nvSpPr>
          <p:cNvPr id="14" name="文本框 13"/>
          <p:cNvSpPr txBox="1"/>
          <p:nvPr/>
        </p:nvSpPr>
        <p:spPr>
          <a:xfrm>
            <a:off x="924560" y="3995420"/>
            <a:ext cx="313817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使用make命令编译Redis源文件。</a:t>
            </a:r>
          </a:p>
        </p:txBody>
      </p:sp>
      <p:pic>
        <p:nvPicPr>
          <p:cNvPr id="15" name="图片 1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24560" y="4319905"/>
            <a:ext cx="1085850" cy="200025"/>
          </a:xfrm>
          <a:prstGeom prst="rect">
            <a:avLst/>
          </a:prstGeom>
        </p:spPr>
      </p:pic>
      <p:sp>
        <p:nvSpPr>
          <p:cNvPr id="16" name="文本框 15"/>
          <p:cNvSpPr txBox="1"/>
          <p:nvPr/>
        </p:nvSpPr>
        <p:spPr>
          <a:xfrm>
            <a:off x="924560" y="4500880"/>
            <a:ext cx="238569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编译成功后，安装Redis。</a:t>
            </a:r>
          </a:p>
        </p:txBody>
      </p:sp>
      <p:pic>
        <p:nvPicPr>
          <p:cNvPr id="17" name="图片 1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24560" y="4815205"/>
            <a:ext cx="3228975" cy="200025"/>
          </a:xfrm>
          <a:prstGeom prst="rect">
            <a:avLst/>
          </a:prstGeom>
        </p:spPr>
      </p:pic>
      <p:sp>
        <p:nvSpPr>
          <p:cNvPr id="18" name="文本框 17"/>
          <p:cNvSpPr txBox="1"/>
          <p:nvPr/>
        </p:nvSpPr>
        <p:spPr>
          <a:xfrm>
            <a:off x="924560" y="5006340"/>
            <a:ext cx="4738370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安装成功后，需要对Redis进行部署，把Redis的配置文件 sentinel.conf拷贝到 “/usr/local/redis/conf”目录下。</a:t>
            </a:r>
          </a:p>
        </p:txBody>
      </p:sp>
      <p:pic>
        <p:nvPicPr>
          <p:cNvPr id="19" name="图片 18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24560" y="5829935"/>
            <a:ext cx="3314700" cy="342900"/>
          </a:xfrm>
          <a:prstGeom prst="rect">
            <a:avLst/>
          </a:prstGeom>
        </p:spPr>
      </p:pic>
      <p:sp>
        <p:nvSpPr>
          <p:cNvPr id="21" name="文本框 20"/>
          <p:cNvSpPr txBox="1"/>
          <p:nvPr/>
        </p:nvSpPr>
        <p:spPr>
          <a:xfrm>
            <a:off x="6491605" y="1862455"/>
            <a:ext cx="211899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3，配置Redis的命令</a:t>
            </a:r>
          </a:p>
        </p:txBody>
      </p:sp>
      <p:sp>
        <p:nvSpPr>
          <p:cNvPr id="22" name="文本框 21"/>
          <p:cNvSpPr txBox="1"/>
          <p:nvPr/>
        </p:nvSpPr>
        <p:spPr>
          <a:xfrm>
            <a:off x="6793230" y="2199640"/>
            <a:ext cx="4704715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最后需要将Redis的命令所在目录添加到系统参数PATH中,修改/etc/profile文件。</a:t>
            </a:r>
          </a:p>
        </p:txBody>
      </p:sp>
      <p:pic>
        <p:nvPicPr>
          <p:cNvPr id="23" name="图片 22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892925" y="2746375"/>
            <a:ext cx="1800225" cy="190500"/>
          </a:xfrm>
          <a:prstGeom prst="rect">
            <a:avLst/>
          </a:prstGeom>
        </p:spPr>
      </p:pic>
      <p:sp>
        <p:nvSpPr>
          <p:cNvPr id="24" name="文本框 23"/>
          <p:cNvSpPr txBox="1"/>
          <p:nvPr/>
        </p:nvSpPr>
        <p:spPr>
          <a:xfrm>
            <a:off x="6892925" y="2955925"/>
            <a:ext cx="392493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在 /etc/profile文件最后一行添加以下内容。</a:t>
            </a:r>
          </a:p>
        </p:txBody>
      </p:sp>
      <p:pic>
        <p:nvPicPr>
          <p:cNvPr id="25" name="图片 24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892925" y="3274060"/>
            <a:ext cx="3171825" cy="180975"/>
          </a:xfrm>
          <a:prstGeom prst="rect">
            <a:avLst/>
          </a:prstGeom>
        </p:spPr>
      </p:pic>
      <p:sp>
        <p:nvSpPr>
          <p:cNvPr id="26" name="文本框 25"/>
          <p:cNvSpPr txBox="1"/>
          <p:nvPr/>
        </p:nvSpPr>
        <p:spPr>
          <a:xfrm>
            <a:off x="6892925" y="3465830"/>
            <a:ext cx="461581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然后使用source 命令使 /etc/profile这个文件生效。</a:t>
            </a:r>
          </a:p>
        </p:txBody>
      </p:sp>
      <p:pic>
        <p:nvPicPr>
          <p:cNvPr id="27" name="图片 26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892925" y="3792220"/>
            <a:ext cx="1971675" cy="180975"/>
          </a:xfrm>
          <a:prstGeom prst="rect">
            <a:avLst/>
          </a:prstGeom>
        </p:spPr>
      </p:pic>
      <p:sp>
        <p:nvSpPr>
          <p:cNvPr id="28" name="文本框 27"/>
          <p:cNvSpPr txBox="1"/>
          <p:nvPr/>
        </p:nvSpPr>
        <p:spPr>
          <a:xfrm>
            <a:off x="6892925" y="3975735"/>
            <a:ext cx="440690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至此，Redis 在Linux上的安装和配置就结束了。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1778000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哨兵模式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669925" y="1064895"/>
            <a:ext cx="411861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Redis Sentinel 的安装与配置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669925" y="1525270"/>
            <a:ext cx="311086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第</a:t>
            </a:r>
            <a:r>
              <a:rPr lang="zh-CN" altLang="en-US" sz="1600">
                <a:sym typeface="+mn-ea"/>
              </a:rPr>
              <a:t>二</a:t>
            </a:r>
            <a:r>
              <a:rPr lang="en-US" sz="1600">
                <a:sym typeface="+mn-ea"/>
              </a:rPr>
              <a:t>步：主从节点的安装和配置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669925" y="1862455"/>
            <a:ext cx="494855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在 /usr/local下创建文件夹redis-sential 使用如下命令。</a:t>
            </a: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8350" y="2199640"/>
            <a:ext cx="2914650" cy="342900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669925" y="2542540"/>
            <a:ext cx="165925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1，安装主节点</a:t>
            </a:r>
          </a:p>
        </p:txBody>
      </p:sp>
      <p:sp>
        <p:nvSpPr>
          <p:cNvPr id="21" name="文本框 20"/>
          <p:cNvSpPr txBox="1"/>
          <p:nvPr/>
        </p:nvSpPr>
        <p:spPr>
          <a:xfrm>
            <a:off x="997585" y="2879725"/>
            <a:ext cx="145034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建立配置目录</a:t>
            </a:r>
          </a:p>
        </p:txBody>
      </p:sp>
      <p:pic>
        <p:nvPicPr>
          <p:cNvPr id="22" name="图片 2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35050" y="3155315"/>
            <a:ext cx="2647950" cy="371475"/>
          </a:xfrm>
          <a:prstGeom prst="rect">
            <a:avLst/>
          </a:prstGeom>
        </p:spPr>
      </p:pic>
      <p:sp>
        <p:nvSpPr>
          <p:cNvPr id="23" name="文本框 22"/>
          <p:cNvSpPr txBox="1"/>
          <p:nvPr/>
        </p:nvSpPr>
        <p:spPr>
          <a:xfrm>
            <a:off x="997585" y="3529965"/>
            <a:ext cx="374205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创建主节点的配置文件redis-7000.conf</a:t>
            </a:r>
          </a:p>
        </p:txBody>
      </p:sp>
      <p:pic>
        <p:nvPicPr>
          <p:cNvPr id="24" name="图片 2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35050" y="3854450"/>
            <a:ext cx="1905000" cy="180975"/>
          </a:xfrm>
          <a:prstGeom prst="rect">
            <a:avLst/>
          </a:prstGeom>
        </p:spPr>
      </p:pic>
      <p:sp>
        <p:nvSpPr>
          <p:cNvPr id="25" name="文本框 24"/>
          <p:cNvSpPr txBox="1"/>
          <p:nvPr/>
        </p:nvSpPr>
        <p:spPr>
          <a:xfrm>
            <a:off x="997585" y="4035425"/>
            <a:ext cx="350520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在主节点的配置文件中添加以下内容</a:t>
            </a:r>
          </a:p>
        </p:txBody>
      </p:sp>
      <p:pic>
        <p:nvPicPr>
          <p:cNvPr id="26" name="图片 2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35050" y="4363085"/>
            <a:ext cx="2724150" cy="885825"/>
          </a:xfrm>
          <a:prstGeom prst="rect">
            <a:avLst/>
          </a:prstGeom>
        </p:spPr>
      </p:pic>
      <p:sp>
        <p:nvSpPr>
          <p:cNvPr id="27" name="文本框 26"/>
          <p:cNvSpPr txBox="1"/>
          <p:nvPr/>
        </p:nvSpPr>
        <p:spPr>
          <a:xfrm>
            <a:off x="6066790" y="1525270"/>
            <a:ext cx="156337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2，创建从节点</a:t>
            </a:r>
          </a:p>
        </p:txBody>
      </p:sp>
      <p:sp>
        <p:nvSpPr>
          <p:cNvPr id="28" name="文本框 27"/>
          <p:cNvSpPr txBox="1"/>
          <p:nvPr/>
        </p:nvSpPr>
        <p:spPr>
          <a:xfrm>
            <a:off x="6390005" y="1862455"/>
            <a:ext cx="368109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创建从节点的配置文件redis-7001.conf</a:t>
            </a:r>
          </a:p>
        </p:txBody>
      </p:sp>
      <p:pic>
        <p:nvPicPr>
          <p:cNvPr id="29" name="图片 2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77635" y="2199640"/>
            <a:ext cx="1895475" cy="161925"/>
          </a:xfrm>
          <a:prstGeom prst="rect">
            <a:avLst/>
          </a:prstGeom>
        </p:spPr>
      </p:pic>
      <p:sp>
        <p:nvSpPr>
          <p:cNvPr id="30" name="文本框 29"/>
          <p:cNvSpPr txBox="1"/>
          <p:nvPr/>
        </p:nvSpPr>
        <p:spPr>
          <a:xfrm>
            <a:off x="6390005" y="2361565"/>
            <a:ext cx="207073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从节点添加以下内容</a:t>
            </a:r>
          </a:p>
        </p:txBody>
      </p:sp>
      <p:pic>
        <p:nvPicPr>
          <p:cNvPr id="31" name="图片 3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477635" y="2698750"/>
            <a:ext cx="2809875" cy="1085850"/>
          </a:xfrm>
          <a:prstGeom prst="rect">
            <a:avLst/>
          </a:prstGeom>
        </p:spPr>
      </p:pic>
      <p:sp>
        <p:nvSpPr>
          <p:cNvPr id="32" name="文本框 31"/>
          <p:cNvSpPr txBox="1"/>
          <p:nvPr/>
        </p:nvSpPr>
        <p:spPr>
          <a:xfrm>
            <a:off x="6390005" y="3784600"/>
            <a:ext cx="363664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创建从节点的配置文件redis-7002.conf</a:t>
            </a:r>
          </a:p>
        </p:txBody>
      </p:sp>
      <p:pic>
        <p:nvPicPr>
          <p:cNvPr id="33" name="图片 32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477635" y="4121785"/>
            <a:ext cx="1952625" cy="190500"/>
          </a:xfrm>
          <a:prstGeom prst="rect">
            <a:avLst/>
          </a:prstGeom>
        </p:spPr>
      </p:pic>
      <p:pic>
        <p:nvPicPr>
          <p:cNvPr id="34" name="图片 33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477635" y="4780915"/>
            <a:ext cx="2600325" cy="1057275"/>
          </a:xfrm>
          <a:prstGeom prst="rect">
            <a:avLst/>
          </a:prstGeom>
        </p:spPr>
      </p:pic>
      <p:sp>
        <p:nvSpPr>
          <p:cNvPr id="35" name="文本框 34"/>
          <p:cNvSpPr txBox="1"/>
          <p:nvPr/>
        </p:nvSpPr>
        <p:spPr>
          <a:xfrm>
            <a:off x="6390005" y="4378325"/>
            <a:ext cx="345757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在从节点的配置文件中添加以下内容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1778000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哨兵模式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669925" y="1064895"/>
            <a:ext cx="411861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Redis Sentinel 的安装与配置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669925" y="1525270"/>
            <a:ext cx="359473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第</a:t>
            </a:r>
            <a:r>
              <a:rPr lang="zh-CN" altLang="en-US" sz="1600">
                <a:sym typeface="+mn-ea"/>
              </a:rPr>
              <a:t>三</a:t>
            </a:r>
            <a:r>
              <a:rPr lang="en-US" sz="1600">
                <a:sym typeface="+mn-ea"/>
              </a:rPr>
              <a:t>步：配置开启Sentinel监控主节点</a:t>
            </a:r>
          </a:p>
        </p:txBody>
      </p:sp>
      <p:sp>
        <p:nvSpPr>
          <p:cNvPr id="7" name="文本框 6"/>
          <p:cNvSpPr txBox="1"/>
          <p:nvPr/>
        </p:nvSpPr>
        <p:spPr>
          <a:xfrm>
            <a:off x="788670" y="1921510"/>
            <a:ext cx="4824730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Sentinel 是特殊的Redis，Sentinel主要是监控故障转移和通知。Sentinel默认端口是26379。</a:t>
            </a:r>
          </a:p>
        </p:txBody>
      </p:sp>
      <p:sp>
        <p:nvSpPr>
          <p:cNvPr id="17" name="文本框 16"/>
          <p:cNvSpPr txBox="1"/>
          <p:nvPr/>
        </p:nvSpPr>
        <p:spPr>
          <a:xfrm>
            <a:off x="788670" y="2515870"/>
            <a:ext cx="276161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拷贝sentinel.conf到指定目录</a:t>
            </a:r>
          </a:p>
        </p:txBody>
      </p:sp>
      <p:pic>
        <p:nvPicPr>
          <p:cNvPr id="18" name="图片 1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9315" y="2863850"/>
            <a:ext cx="4924425" cy="200025"/>
          </a:xfrm>
          <a:prstGeom prst="rect">
            <a:avLst/>
          </a:prstGeom>
        </p:spPr>
      </p:pic>
      <p:sp>
        <p:nvSpPr>
          <p:cNvPr id="19" name="文本框 18"/>
          <p:cNvSpPr txBox="1"/>
          <p:nvPr/>
        </p:nvSpPr>
        <p:spPr>
          <a:xfrm>
            <a:off x="788670" y="3074670"/>
            <a:ext cx="328803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将配置文件所有的空行和注释去掉</a:t>
            </a:r>
          </a:p>
        </p:txBody>
      </p:sp>
      <p:pic>
        <p:nvPicPr>
          <p:cNvPr id="36" name="图片 3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69315" y="3389630"/>
            <a:ext cx="5267325" cy="200025"/>
          </a:xfrm>
          <a:prstGeom prst="rect">
            <a:avLst/>
          </a:prstGeom>
        </p:spPr>
      </p:pic>
      <p:sp>
        <p:nvSpPr>
          <p:cNvPr id="37" name="文本框 36"/>
          <p:cNvSpPr txBox="1"/>
          <p:nvPr/>
        </p:nvSpPr>
        <p:spPr>
          <a:xfrm>
            <a:off x="788670" y="3589655"/>
            <a:ext cx="432943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查看配置文件发现所有的空格和注释都去掉了</a:t>
            </a:r>
          </a:p>
        </p:txBody>
      </p:sp>
      <p:pic>
        <p:nvPicPr>
          <p:cNvPr id="38" name="图片 3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69315" y="3915410"/>
            <a:ext cx="4667250" cy="1076325"/>
          </a:xfrm>
          <a:prstGeom prst="rect">
            <a:avLst/>
          </a:prstGeom>
        </p:spPr>
      </p:pic>
      <p:pic>
        <p:nvPicPr>
          <p:cNvPr id="39" name="图片 3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69315" y="4961255"/>
            <a:ext cx="3752850" cy="885825"/>
          </a:xfrm>
          <a:prstGeom prst="rect">
            <a:avLst/>
          </a:prstGeom>
        </p:spPr>
      </p:pic>
      <p:sp>
        <p:nvSpPr>
          <p:cNvPr id="40" name="文本框 39"/>
          <p:cNvSpPr txBox="1"/>
          <p:nvPr/>
        </p:nvSpPr>
        <p:spPr>
          <a:xfrm>
            <a:off x="6548120" y="1525270"/>
            <a:ext cx="415290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然后在对redis-sentinel-26379.conf进行修改</a:t>
            </a:r>
          </a:p>
        </p:txBody>
      </p:sp>
      <p:pic>
        <p:nvPicPr>
          <p:cNvPr id="41" name="图片 4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38290" y="1862455"/>
            <a:ext cx="2676525" cy="200025"/>
          </a:xfrm>
          <a:prstGeom prst="rect">
            <a:avLst/>
          </a:prstGeom>
        </p:spPr>
      </p:pic>
      <p:sp>
        <p:nvSpPr>
          <p:cNvPr id="42" name="文本框 41"/>
          <p:cNvSpPr txBox="1"/>
          <p:nvPr/>
        </p:nvSpPr>
        <p:spPr>
          <a:xfrm>
            <a:off x="6548120" y="2062480"/>
            <a:ext cx="140652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添加以下内容</a:t>
            </a:r>
          </a:p>
        </p:txBody>
      </p:sp>
      <p:pic>
        <p:nvPicPr>
          <p:cNvPr id="43" name="图片 4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38290" y="2399665"/>
            <a:ext cx="3800475" cy="1762125"/>
          </a:xfrm>
          <a:prstGeom prst="rect">
            <a:avLst/>
          </a:prstGeom>
        </p:spPr>
      </p:pic>
      <p:sp>
        <p:nvSpPr>
          <p:cNvPr id="44" name="文本框 43"/>
          <p:cNvSpPr txBox="1"/>
          <p:nvPr/>
        </p:nvSpPr>
        <p:spPr>
          <a:xfrm>
            <a:off x="6548120" y="4161790"/>
            <a:ext cx="260477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使用以下命令启动Sentinel</a:t>
            </a:r>
          </a:p>
        </p:txBody>
      </p:sp>
      <p:pic>
        <p:nvPicPr>
          <p:cNvPr id="45" name="图片 4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638290" y="4498975"/>
            <a:ext cx="3314700" cy="180975"/>
          </a:xfrm>
          <a:prstGeom prst="rect">
            <a:avLst/>
          </a:prstGeom>
        </p:spPr>
      </p:pic>
      <p:sp>
        <p:nvSpPr>
          <p:cNvPr id="46" name="文本框 45"/>
          <p:cNvSpPr txBox="1"/>
          <p:nvPr/>
        </p:nvSpPr>
        <p:spPr>
          <a:xfrm>
            <a:off x="6548120" y="4699000"/>
            <a:ext cx="377698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查看Sentinel进程，可以看出已经启动了</a:t>
            </a:r>
          </a:p>
        </p:txBody>
      </p:sp>
      <p:pic>
        <p:nvPicPr>
          <p:cNvPr id="47" name="图片 46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638290" y="5033645"/>
            <a:ext cx="5133975" cy="866775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1778000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哨兵模式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669925" y="1064895"/>
            <a:ext cx="411861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Redis Sentinel 的安装与配置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669925" y="1525270"/>
            <a:ext cx="359473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第</a:t>
            </a:r>
            <a:r>
              <a:rPr lang="zh-CN" altLang="en-US" sz="1600">
                <a:sym typeface="+mn-ea"/>
              </a:rPr>
              <a:t>三</a:t>
            </a:r>
            <a:r>
              <a:rPr lang="en-US" sz="1600">
                <a:sym typeface="+mn-ea"/>
              </a:rPr>
              <a:t>步：配置开启Sentinel监控主节点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740410" y="1862455"/>
            <a:ext cx="345313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使用redis-cli命令连接到Sentinel节点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4865" y="2199640"/>
            <a:ext cx="2162175" cy="180975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740410" y="2380615"/>
            <a:ext cx="142430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可以链接成功</a:t>
            </a: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4865" y="2717800"/>
            <a:ext cx="3981450" cy="533400"/>
          </a:xfrm>
          <a:prstGeom prst="rect">
            <a:avLst/>
          </a:prstGeom>
        </p:spPr>
      </p:pic>
      <p:sp>
        <p:nvSpPr>
          <p:cNvPr id="8" name="文本框 7"/>
          <p:cNvSpPr txBox="1"/>
          <p:nvPr/>
        </p:nvSpPr>
        <p:spPr>
          <a:xfrm>
            <a:off x="740410" y="3267710"/>
            <a:ext cx="362013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输入info sentinel命令会返回如下信息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4865" y="3588385"/>
            <a:ext cx="2524125" cy="695325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24865" y="4283710"/>
            <a:ext cx="5267325" cy="885825"/>
          </a:xfrm>
          <a:prstGeom prst="rect">
            <a:avLst/>
          </a:prstGeom>
        </p:spPr>
      </p:pic>
      <p:sp>
        <p:nvSpPr>
          <p:cNvPr id="11" name="文本框 10"/>
          <p:cNvSpPr txBox="1"/>
          <p:nvPr/>
        </p:nvSpPr>
        <p:spPr>
          <a:xfrm>
            <a:off x="747395" y="5154295"/>
            <a:ext cx="5422900" cy="1076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可以看到有1个Master和2个Slave，只有一个Sentinel。</a:t>
            </a:r>
          </a:p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还是查看redis-sentinel-26379.conf配置文件，在文件的最下面会发现多了四行内容，这是配置重写操作时产生的内容。</a:t>
            </a: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60160" y="1209040"/>
            <a:ext cx="4667250" cy="171450"/>
          </a:xfrm>
          <a:prstGeom prst="rect">
            <a:avLst/>
          </a:prstGeom>
        </p:spPr>
      </p:pic>
      <p:pic>
        <p:nvPicPr>
          <p:cNvPr id="13" name="图片 1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360160" y="1380490"/>
            <a:ext cx="4448175" cy="2686050"/>
          </a:xfrm>
          <a:prstGeom prst="rect">
            <a:avLst/>
          </a:prstGeom>
        </p:spPr>
      </p:pic>
      <p:sp>
        <p:nvSpPr>
          <p:cNvPr id="14" name="文本框 13"/>
          <p:cNvSpPr txBox="1"/>
          <p:nvPr/>
        </p:nvSpPr>
        <p:spPr>
          <a:xfrm>
            <a:off x="6246495" y="4066540"/>
            <a:ext cx="364553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根据这个配置文件在生成两个配置文件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6360160" y="4403725"/>
            <a:ext cx="411861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1）生成redis-sentinel-26380.conf配置文件。</a:t>
            </a:r>
          </a:p>
        </p:txBody>
      </p:sp>
      <p:pic>
        <p:nvPicPr>
          <p:cNvPr id="16" name="图片 15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360160" y="4740910"/>
            <a:ext cx="5267325" cy="34290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1778000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哨兵模式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669925" y="1064895"/>
            <a:ext cx="411861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Redis Sentinel 的安装与配置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669925" y="1525270"/>
            <a:ext cx="359473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第</a:t>
            </a:r>
            <a:r>
              <a:rPr lang="zh-CN" altLang="en-US" sz="1600">
                <a:sym typeface="+mn-ea"/>
              </a:rPr>
              <a:t>三</a:t>
            </a:r>
            <a:r>
              <a:rPr lang="en-US" sz="1600">
                <a:sym typeface="+mn-ea"/>
              </a:rPr>
              <a:t>步：配置开启Sentinel监控主节点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740410" y="1862455"/>
            <a:ext cx="140716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添加以下内容</a:t>
            </a: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9785" y="2199640"/>
            <a:ext cx="3676650" cy="1771650"/>
          </a:xfrm>
          <a:prstGeom prst="rect">
            <a:avLst/>
          </a:prstGeom>
        </p:spPr>
      </p:pic>
      <p:sp>
        <p:nvSpPr>
          <p:cNvPr id="17" name="文本框 16"/>
          <p:cNvSpPr txBox="1"/>
          <p:nvPr/>
        </p:nvSpPr>
        <p:spPr>
          <a:xfrm>
            <a:off x="819785" y="4036695"/>
            <a:ext cx="410908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2）生成redis-sentinel-26381.conf配置文件。</a:t>
            </a:r>
          </a:p>
        </p:txBody>
      </p:sp>
      <p:pic>
        <p:nvPicPr>
          <p:cNvPr id="18" name="图片 1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71855" y="4439285"/>
            <a:ext cx="5276850" cy="361950"/>
          </a:xfrm>
          <a:prstGeom prst="rect">
            <a:avLst/>
          </a:prstGeom>
        </p:spPr>
      </p:pic>
      <p:sp>
        <p:nvSpPr>
          <p:cNvPr id="19" name="文本框 18"/>
          <p:cNvSpPr txBox="1"/>
          <p:nvPr/>
        </p:nvSpPr>
        <p:spPr>
          <a:xfrm>
            <a:off x="3556000" y="3302635"/>
            <a:ext cx="5080000" cy="252730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lstStyle/>
          <a:p>
            <a:pPr indent="0"/>
            <a:r>
              <a:rPr lang="zh-CN" sz="1050" b="0">
                <a:latin typeface="Calibri" panose="020F0502020204030204" charset="0"/>
                <a:ea typeface="宋体" panose="02010600030101010101" pitchFamily="2" charset="-122"/>
              </a:rPr>
              <a:t>添加以下内容</a:t>
            </a:r>
            <a:endParaRPr lang="zh-CN" altLang="en-US"/>
          </a:p>
        </p:txBody>
      </p:sp>
      <p:sp>
        <p:nvSpPr>
          <p:cNvPr id="21" name="文本框 20"/>
          <p:cNvSpPr txBox="1"/>
          <p:nvPr/>
        </p:nvSpPr>
        <p:spPr>
          <a:xfrm>
            <a:off x="6548120" y="1064895"/>
            <a:ext cx="150304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添加以下内容</a:t>
            </a:r>
          </a:p>
        </p:txBody>
      </p:sp>
      <p:pic>
        <p:nvPicPr>
          <p:cNvPr id="22" name="图片 2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59880" y="1402080"/>
            <a:ext cx="3771900" cy="1762125"/>
          </a:xfrm>
          <a:prstGeom prst="rect">
            <a:avLst/>
          </a:prstGeom>
        </p:spPr>
      </p:pic>
      <p:sp>
        <p:nvSpPr>
          <p:cNvPr id="23" name="文本框 22"/>
          <p:cNvSpPr txBox="1"/>
          <p:nvPr/>
        </p:nvSpPr>
        <p:spPr>
          <a:xfrm>
            <a:off x="6604000" y="3164205"/>
            <a:ext cx="3471545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entinel deny-scripts-reconfig yes</a:t>
            </a:r>
          </a:p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使用以下命令启动两个Sentinel节点。</a:t>
            </a:r>
          </a:p>
        </p:txBody>
      </p:sp>
      <p:pic>
        <p:nvPicPr>
          <p:cNvPr id="24" name="图片 2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75120" y="3747770"/>
            <a:ext cx="3400425" cy="381000"/>
          </a:xfrm>
          <a:prstGeom prst="rect">
            <a:avLst/>
          </a:prstGeom>
        </p:spPr>
      </p:pic>
      <p:sp>
        <p:nvSpPr>
          <p:cNvPr id="25" name="文本框 24"/>
          <p:cNvSpPr txBox="1"/>
          <p:nvPr/>
        </p:nvSpPr>
        <p:spPr>
          <a:xfrm>
            <a:off x="6604000" y="4128770"/>
            <a:ext cx="248158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查看Sentinel节点的进程。</a:t>
            </a:r>
          </a:p>
        </p:txBody>
      </p:sp>
      <p:pic>
        <p:nvPicPr>
          <p:cNvPr id="26" name="图片 2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59880" y="4439285"/>
            <a:ext cx="5257800" cy="904875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1778000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哨兵模式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669925" y="1064895"/>
            <a:ext cx="411861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Redis Sentinel 的安装与配置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669925" y="1525270"/>
            <a:ext cx="359473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第</a:t>
            </a:r>
            <a:r>
              <a:rPr lang="zh-CN" altLang="en-US" sz="1600">
                <a:sym typeface="+mn-ea"/>
              </a:rPr>
              <a:t>三</a:t>
            </a:r>
            <a:r>
              <a:rPr lang="en-US" sz="1600">
                <a:sym typeface="+mn-ea"/>
              </a:rPr>
              <a:t>步：配置开启Sentinel监控主节点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740410" y="1862455"/>
            <a:ext cx="392747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使用redis-cli命令连接到一个Sentinel节点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0580" y="2199640"/>
            <a:ext cx="1924050" cy="180975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740410" y="2380615"/>
            <a:ext cx="143319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查看节点信息</a:t>
            </a: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0580" y="2717800"/>
            <a:ext cx="5286375" cy="1781175"/>
          </a:xfrm>
          <a:prstGeom prst="rect">
            <a:avLst/>
          </a:prstGeom>
        </p:spPr>
      </p:pic>
      <p:sp>
        <p:nvSpPr>
          <p:cNvPr id="8" name="文本框 7"/>
          <p:cNvSpPr txBox="1"/>
          <p:nvPr/>
        </p:nvSpPr>
        <p:spPr>
          <a:xfrm>
            <a:off x="740410" y="4498975"/>
            <a:ext cx="5140960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可以看到sentinels有3个，至此Sentinel哨兵已经配置完成。使用redis-cli命令连接上主节点7000进行测试。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30580" y="5058410"/>
            <a:ext cx="3867150" cy="904875"/>
          </a:xfrm>
          <a:prstGeom prst="rect">
            <a:avLst/>
          </a:prstGeom>
        </p:spPr>
      </p:pic>
      <p:sp>
        <p:nvSpPr>
          <p:cNvPr id="10" name="文本框 9"/>
          <p:cNvSpPr txBox="1"/>
          <p:nvPr/>
        </p:nvSpPr>
        <p:spPr>
          <a:xfrm>
            <a:off x="6477635" y="1880870"/>
            <a:ext cx="215011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在连接上从节点7001</a:t>
            </a: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66535" y="2199640"/>
            <a:ext cx="3905250" cy="140970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1778000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哨兵模式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669925" y="1064895"/>
            <a:ext cx="2072005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测试主从切换</a:t>
            </a:r>
          </a:p>
        </p:txBody>
      </p:sp>
      <p:sp>
        <p:nvSpPr>
          <p:cNvPr id="7" name="文本框 6"/>
          <p:cNvSpPr txBox="1"/>
          <p:nvPr/>
        </p:nvSpPr>
        <p:spPr>
          <a:xfrm>
            <a:off x="669925" y="1525270"/>
            <a:ext cx="243903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1， 查看Redis集群信息</a:t>
            </a: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9305" y="1862455"/>
            <a:ext cx="5276850" cy="1447800"/>
          </a:xfrm>
          <a:prstGeom prst="rect">
            <a:avLst/>
          </a:prstGeom>
        </p:spPr>
      </p:pic>
      <p:pic>
        <p:nvPicPr>
          <p:cNvPr id="13" name="图片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3750" y="3310255"/>
            <a:ext cx="5267325" cy="1257300"/>
          </a:xfrm>
          <a:prstGeom prst="rect">
            <a:avLst/>
          </a:prstGeom>
        </p:spPr>
      </p:pic>
      <p:sp>
        <p:nvSpPr>
          <p:cNvPr id="14" name="文本框 13"/>
          <p:cNvSpPr txBox="1"/>
          <p:nvPr/>
        </p:nvSpPr>
        <p:spPr>
          <a:xfrm>
            <a:off x="669925" y="4572000"/>
            <a:ext cx="187071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2， 查看进程信息</a:t>
            </a:r>
          </a:p>
        </p:txBody>
      </p:sp>
      <p:pic>
        <p:nvPicPr>
          <p:cNvPr id="15" name="图片 1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89305" y="4909185"/>
            <a:ext cx="5295900" cy="1419225"/>
          </a:xfrm>
          <a:prstGeom prst="rect">
            <a:avLst/>
          </a:prstGeom>
        </p:spPr>
      </p:pic>
      <p:sp>
        <p:nvSpPr>
          <p:cNvPr id="16" name="文本框 15"/>
          <p:cNvSpPr txBox="1"/>
          <p:nvPr/>
        </p:nvSpPr>
        <p:spPr>
          <a:xfrm>
            <a:off x="6281420" y="1064895"/>
            <a:ext cx="253492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3， kill掉一个Master进程</a:t>
            </a:r>
          </a:p>
        </p:txBody>
      </p:sp>
      <p:pic>
        <p:nvPicPr>
          <p:cNvPr id="17" name="图片 1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20180" y="1402080"/>
            <a:ext cx="1600200" cy="190500"/>
          </a:xfrm>
          <a:prstGeom prst="rect">
            <a:avLst/>
          </a:prstGeom>
        </p:spPr>
      </p:pic>
      <p:sp>
        <p:nvSpPr>
          <p:cNvPr id="18" name="文本框 17"/>
          <p:cNvSpPr txBox="1"/>
          <p:nvPr/>
        </p:nvSpPr>
        <p:spPr>
          <a:xfrm>
            <a:off x="6281420" y="1592580"/>
            <a:ext cx="144843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4, 查看主节点</a:t>
            </a:r>
          </a:p>
        </p:txBody>
      </p:sp>
      <p:sp>
        <p:nvSpPr>
          <p:cNvPr id="19" name="文本框 18"/>
          <p:cNvSpPr txBox="1"/>
          <p:nvPr/>
        </p:nvSpPr>
        <p:spPr>
          <a:xfrm>
            <a:off x="6520180" y="1929765"/>
            <a:ext cx="320040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使用redis-cli命令连接到7001节点。</a:t>
            </a:r>
          </a:p>
        </p:txBody>
      </p:sp>
      <p:pic>
        <p:nvPicPr>
          <p:cNvPr id="21" name="图片 2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20180" y="2249805"/>
            <a:ext cx="5010150" cy="2457450"/>
          </a:xfrm>
          <a:prstGeom prst="rect">
            <a:avLst/>
          </a:prstGeom>
        </p:spPr>
      </p:pic>
      <p:sp>
        <p:nvSpPr>
          <p:cNvPr id="22" name="文本框 21"/>
          <p:cNvSpPr txBox="1"/>
          <p:nvPr/>
        </p:nvSpPr>
        <p:spPr>
          <a:xfrm>
            <a:off x="6485255" y="4707255"/>
            <a:ext cx="312928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从上面可以看出主节点变为7002。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1778000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哨兵模式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669925" y="1299845"/>
            <a:ext cx="10511155" cy="3415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	通过哨兵模式集群的配置，我们可以看出哨兵集群模式是基于主从模式的，哨兵模式具有所有主从的优点。哨兵模式是主从模式的升级，实现了自动化的故障恢复。但哨兵模式的缺点也很明显，Redis较难实现支持在线扩容，在集群容量达到上限时在线扩容会变得很复杂。实现哨兵模式的配置也不简单，甚至有些繁琐，于是就有了Redis Cluster集群。Redis Cluster是官方的Redis集群实现。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669925" y="1319455"/>
            <a:ext cx="10850563" cy="3136900"/>
          </a:xfrm>
        </p:spPr>
        <p:txBody>
          <a:bodyPr>
            <a:normAutofit/>
          </a:bodyPr>
          <a:lstStyle/>
          <a:p>
            <a:r>
              <a:rPr lang="en-US" altLang="zh-CN" sz="4800" dirty="0"/>
              <a:t/>
            </a:r>
            <a:br>
              <a:rPr lang="en-US" altLang="zh-CN" sz="4800" dirty="0"/>
            </a:br>
            <a:r>
              <a:rPr sz="4800" dirty="0" smtClean="0">
                <a:sym typeface="+mn-ea"/>
              </a:rPr>
              <a:t>第</a:t>
            </a:r>
            <a:r>
              <a:rPr lang="zh-CN" altLang="en-US" sz="4800" dirty="0" smtClean="0">
                <a:sym typeface="+mn-ea"/>
              </a:rPr>
              <a:t>六</a:t>
            </a:r>
            <a:r>
              <a:rPr sz="4800" dirty="0" smtClean="0">
                <a:sym typeface="+mn-ea"/>
              </a:rPr>
              <a:t>章 </a:t>
            </a:r>
            <a:r>
              <a:rPr sz="4800" dirty="0" err="1" smtClean="0">
                <a:sym typeface="+mn-ea"/>
              </a:rPr>
              <a:t>Redis</a:t>
            </a:r>
            <a:r>
              <a:rPr lang="en-US" sz="4800" dirty="0" smtClean="0">
                <a:sym typeface="+mn-ea"/>
              </a:rPr>
              <a:t> </a:t>
            </a:r>
            <a:r>
              <a:rPr lang="zh-CN" altLang="en-US" sz="4800" dirty="0" smtClean="0">
                <a:sym typeface="+mn-ea"/>
              </a:rPr>
              <a:t>集群环境部署</a:t>
            </a:r>
            <a:endParaRPr sz="4800" dirty="0">
              <a:sym typeface="+mn-ea"/>
            </a:endParaRPr>
          </a:p>
        </p:txBody>
      </p:sp>
      <p:sp>
        <p:nvSpPr>
          <p:cNvPr id="29" name="任意多边形: 形状 28"/>
          <p:cNvSpPr/>
          <p:nvPr/>
        </p:nvSpPr>
        <p:spPr>
          <a:xfrm>
            <a:off x="10968292" y="649047"/>
            <a:ext cx="552196" cy="3896208"/>
          </a:xfrm>
          <a:custGeom>
            <a:avLst/>
            <a:gdLst>
              <a:gd name="connsiteX0" fmla="*/ 438280 w 513703"/>
              <a:gd name="connsiteY0" fmla="*/ 3473760 h 3624606"/>
              <a:gd name="connsiteX1" fmla="*/ 513703 w 513703"/>
              <a:gd name="connsiteY1" fmla="*/ 3549183 h 3624606"/>
              <a:gd name="connsiteX2" fmla="*/ 438280 w 513703"/>
              <a:gd name="connsiteY2" fmla="*/ 3624606 h 3624606"/>
              <a:gd name="connsiteX3" fmla="*/ 362857 w 513703"/>
              <a:gd name="connsiteY3" fmla="*/ 3549183 h 3624606"/>
              <a:gd name="connsiteX4" fmla="*/ 438280 w 513703"/>
              <a:gd name="connsiteY4" fmla="*/ 3473760 h 3624606"/>
              <a:gd name="connsiteX5" fmla="*/ 75423 w 513703"/>
              <a:gd name="connsiteY5" fmla="*/ 3473760 h 3624606"/>
              <a:gd name="connsiteX6" fmla="*/ 150846 w 513703"/>
              <a:gd name="connsiteY6" fmla="*/ 3549183 h 3624606"/>
              <a:gd name="connsiteX7" fmla="*/ 75423 w 513703"/>
              <a:gd name="connsiteY7" fmla="*/ 3624606 h 3624606"/>
              <a:gd name="connsiteX8" fmla="*/ 0 w 513703"/>
              <a:gd name="connsiteY8" fmla="*/ 3549183 h 3624606"/>
              <a:gd name="connsiteX9" fmla="*/ 75423 w 513703"/>
              <a:gd name="connsiteY9" fmla="*/ 3473760 h 3624606"/>
              <a:gd name="connsiteX10" fmla="*/ 438280 w 513703"/>
              <a:gd name="connsiteY10" fmla="*/ 3126882 h 3624606"/>
              <a:gd name="connsiteX11" fmla="*/ 513703 w 513703"/>
              <a:gd name="connsiteY11" fmla="*/ 3202305 h 3624606"/>
              <a:gd name="connsiteX12" fmla="*/ 438280 w 513703"/>
              <a:gd name="connsiteY12" fmla="*/ 3277728 h 3624606"/>
              <a:gd name="connsiteX13" fmla="*/ 362857 w 513703"/>
              <a:gd name="connsiteY13" fmla="*/ 3202305 h 3624606"/>
              <a:gd name="connsiteX14" fmla="*/ 438280 w 513703"/>
              <a:gd name="connsiteY14" fmla="*/ 3126882 h 3624606"/>
              <a:gd name="connsiteX15" fmla="*/ 75423 w 513703"/>
              <a:gd name="connsiteY15" fmla="*/ 3126882 h 3624606"/>
              <a:gd name="connsiteX16" fmla="*/ 150846 w 513703"/>
              <a:gd name="connsiteY16" fmla="*/ 3202305 h 3624606"/>
              <a:gd name="connsiteX17" fmla="*/ 75423 w 513703"/>
              <a:gd name="connsiteY17" fmla="*/ 3277728 h 3624606"/>
              <a:gd name="connsiteX18" fmla="*/ 0 w 513703"/>
              <a:gd name="connsiteY18" fmla="*/ 3202305 h 3624606"/>
              <a:gd name="connsiteX19" fmla="*/ 75423 w 513703"/>
              <a:gd name="connsiteY19" fmla="*/ 3126882 h 3624606"/>
              <a:gd name="connsiteX20" fmla="*/ 438280 w 513703"/>
              <a:gd name="connsiteY20" fmla="*/ 2780004 h 3624606"/>
              <a:gd name="connsiteX21" fmla="*/ 513703 w 513703"/>
              <a:gd name="connsiteY21" fmla="*/ 2855427 h 3624606"/>
              <a:gd name="connsiteX22" fmla="*/ 438280 w 513703"/>
              <a:gd name="connsiteY22" fmla="*/ 2930850 h 3624606"/>
              <a:gd name="connsiteX23" fmla="*/ 362857 w 513703"/>
              <a:gd name="connsiteY23" fmla="*/ 2855427 h 3624606"/>
              <a:gd name="connsiteX24" fmla="*/ 438280 w 513703"/>
              <a:gd name="connsiteY24" fmla="*/ 2780004 h 3624606"/>
              <a:gd name="connsiteX25" fmla="*/ 75423 w 513703"/>
              <a:gd name="connsiteY25" fmla="*/ 2780004 h 3624606"/>
              <a:gd name="connsiteX26" fmla="*/ 150846 w 513703"/>
              <a:gd name="connsiteY26" fmla="*/ 2855427 h 3624606"/>
              <a:gd name="connsiteX27" fmla="*/ 75423 w 513703"/>
              <a:gd name="connsiteY27" fmla="*/ 2930850 h 3624606"/>
              <a:gd name="connsiteX28" fmla="*/ 0 w 513703"/>
              <a:gd name="connsiteY28" fmla="*/ 2855427 h 3624606"/>
              <a:gd name="connsiteX29" fmla="*/ 75423 w 513703"/>
              <a:gd name="connsiteY29" fmla="*/ 2780004 h 3624606"/>
              <a:gd name="connsiteX30" fmla="*/ 438280 w 513703"/>
              <a:gd name="connsiteY30" fmla="*/ 2433126 h 3624606"/>
              <a:gd name="connsiteX31" fmla="*/ 513703 w 513703"/>
              <a:gd name="connsiteY31" fmla="*/ 2508549 h 3624606"/>
              <a:gd name="connsiteX32" fmla="*/ 438280 w 513703"/>
              <a:gd name="connsiteY32" fmla="*/ 2583972 h 3624606"/>
              <a:gd name="connsiteX33" fmla="*/ 362857 w 513703"/>
              <a:gd name="connsiteY33" fmla="*/ 2508549 h 3624606"/>
              <a:gd name="connsiteX34" fmla="*/ 438280 w 513703"/>
              <a:gd name="connsiteY34" fmla="*/ 2433126 h 3624606"/>
              <a:gd name="connsiteX35" fmla="*/ 75423 w 513703"/>
              <a:gd name="connsiteY35" fmla="*/ 2433126 h 3624606"/>
              <a:gd name="connsiteX36" fmla="*/ 150846 w 513703"/>
              <a:gd name="connsiteY36" fmla="*/ 2508549 h 3624606"/>
              <a:gd name="connsiteX37" fmla="*/ 75423 w 513703"/>
              <a:gd name="connsiteY37" fmla="*/ 2583972 h 3624606"/>
              <a:gd name="connsiteX38" fmla="*/ 0 w 513703"/>
              <a:gd name="connsiteY38" fmla="*/ 2508549 h 3624606"/>
              <a:gd name="connsiteX39" fmla="*/ 75423 w 513703"/>
              <a:gd name="connsiteY39" fmla="*/ 2433126 h 3624606"/>
              <a:gd name="connsiteX40" fmla="*/ 438280 w 513703"/>
              <a:gd name="connsiteY40" fmla="*/ 2086248 h 3624606"/>
              <a:gd name="connsiteX41" fmla="*/ 513703 w 513703"/>
              <a:gd name="connsiteY41" fmla="*/ 2161671 h 3624606"/>
              <a:gd name="connsiteX42" fmla="*/ 438280 w 513703"/>
              <a:gd name="connsiteY42" fmla="*/ 2237094 h 3624606"/>
              <a:gd name="connsiteX43" fmla="*/ 362857 w 513703"/>
              <a:gd name="connsiteY43" fmla="*/ 2161671 h 3624606"/>
              <a:gd name="connsiteX44" fmla="*/ 438280 w 513703"/>
              <a:gd name="connsiteY44" fmla="*/ 2086248 h 3624606"/>
              <a:gd name="connsiteX45" fmla="*/ 75423 w 513703"/>
              <a:gd name="connsiteY45" fmla="*/ 2086248 h 3624606"/>
              <a:gd name="connsiteX46" fmla="*/ 150846 w 513703"/>
              <a:gd name="connsiteY46" fmla="*/ 2161671 h 3624606"/>
              <a:gd name="connsiteX47" fmla="*/ 75423 w 513703"/>
              <a:gd name="connsiteY47" fmla="*/ 2237094 h 3624606"/>
              <a:gd name="connsiteX48" fmla="*/ 0 w 513703"/>
              <a:gd name="connsiteY48" fmla="*/ 2161671 h 3624606"/>
              <a:gd name="connsiteX49" fmla="*/ 75423 w 513703"/>
              <a:gd name="connsiteY49" fmla="*/ 2086248 h 3624606"/>
              <a:gd name="connsiteX50" fmla="*/ 438280 w 513703"/>
              <a:gd name="connsiteY50" fmla="*/ 1734390 h 3624606"/>
              <a:gd name="connsiteX51" fmla="*/ 513703 w 513703"/>
              <a:gd name="connsiteY51" fmla="*/ 1809813 h 3624606"/>
              <a:gd name="connsiteX52" fmla="*/ 513200 w 513703"/>
              <a:gd name="connsiteY52" fmla="*/ 1812303 h 3624606"/>
              <a:gd name="connsiteX53" fmla="*/ 513703 w 513703"/>
              <a:gd name="connsiteY53" fmla="*/ 1814793 h 3624606"/>
              <a:gd name="connsiteX54" fmla="*/ 438280 w 513703"/>
              <a:gd name="connsiteY54" fmla="*/ 1890216 h 3624606"/>
              <a:gd name="connsiteX55" fmla="*/ 362857 w 513703"/>
              <a:gd name="connsiteY55" fmla="*/ 1814793 h 3624606"/>
              <a:gd name="connsiteX56" fmla="*/ 363360 w 513703"/>
              <a:gd name="connsiteY56" fmla="*/ 1812303 h 3624606"/>
              <a:gd name="connsiteX57" fmla="*/ 362857 w 513703"/>
              <a:gd name="connsiteY57" fmla="*/ 1809813 h 3624606"/>
              <a:gd name="connsiteX58" fmla="*/ 438280 w 513703"/>
              <a:gd name="connsiteY58" fmla="*/ 1734390 h 3624606"/>
              <a:gd name="connsiteX59" fmla="*/ 75423 w 513703"/>
              <a:gd name="connsiteY59" fmla="*/ 1734390 h 3624606"/>
              <a:gd name="connsiteX60" fmla="*/ 150846 w 513703"/>
              <a:gd name="connsiteY60" fmla="*/ 1809813 h 3624606"/>
              <a:gd name="connsiteX61" fmla="*/ 150343 w 513703"/>
              <a:gd name="connsiteY61" fmla="*/ 1812303 h 3624606"/>
              <a:gd name="connsiteX62" fmla="*/ 150846 w 513703"/>
              <a:gd name="connsiteY62" fmla="*/ 1814793 h 3624606"/>
              <a:gd name="connsiteX63" fmla="*/ 75423 w 513703"/>
              <a:gd name="connsiteY63" fmla="*/ 1890216 h 3624606"/>
              <a:gd name="connsiteX64" fmla="*/ 0 w 513703"/>
              <a:gd name="connsiteY64" fmla="*/ 1814793 h 3624606"/>
              <a:gd name="connsiteX65" fmla="*/ 503 w 513703"/>
              <a:gd name="connsiteY65" fmla="*/ 1812303 h 3624606"/>
              <a:gd name="connsiteX66" fmla="*/ 0 w 513703"/>
              <a:gd name="connsiteY66" fmla="*/ 1809813 h 3624606"/>
              <a:gd name="connsiteX67" fmla="*/ 75423 w 513703"/>
              <a:gd name="connsiteY67" fmla="*/ 1734390 h 3624606"/>
              <a:gd name="connsiteX68" fmla="*/ 438280 w 513703"/>
              <a:gd name="connsiteY68" fmla="*/ 1387512 h 3624606"/>
              <a:gd name="connsiteX69" fmla="*/ 513703 w 513703"/>
              <a:gd name="connsiteY69" fmla="*/ 1462935 h 3624606"/>
              <a:gd name="connsiteX70" fmla="*/ 438280 w 513703"/>
              <a:gd name="connsiteY70" fmla="*/ 1538358 h 3624606"/>
              <a:gd name="connsiteX71" fmla="*/ 362857 w 513703"/>
              <a:gd name="connsiteY71" fmla="*/ 1462935 h 3624606"/>
              <a:gd name="connsiteX72" fmla="*/ 438280 w 513703"/>
              <a:gd name="connsiteY72" fmla="*/ 1387512 h 3624606"/>
              <a:gd name="connsiteX73" fmla="*/ 75423 w 513703"/>
              <a:gd name="connsiteY73" fmla="*/ 1387512 h 3624606"/>
              <a:gd name="connsiteX74" fmla="*/ 150846 w 513703"/>
              <a:gd name="connsiteY74" fmla="*/ 1462935 h 3624606"/>
              <a:gd name="connsiteX75" fmla="*/ 75423 w 513703"/>
              <a:gd name="connsiteY75" fmla="*/ 1538358 h 3624606"/>
              <a:gd name="connsiteX76" fmla="*/ 0 w 513703"/>
              <a:gd name="connsiteY76" fmla="*/ 1462935 h 3624606"/>
              <a:gd name="connsiteX77" fmla="*/ 75423 w 513703"/>
              <a:gd name="connsiteY77" fmla="*/ 1387512 h 3624606"/>
              <a:gd name="connsiteX78" fmla="*/ 75423 w 513703"/>
              <a:gd name="connsiteY78" fmla="*/ 1040634 h 3624606"/>
              <a:gd name="connsiteX79" fmla="*/ 150846 w 513703"/>
              <a:gd name="connsiteY79" fmla="*/ 1116057 h 3624606"/>
              <a:gd name="connsiteX80" fmla="*/ 75423 w 513703"/>
              <a:gd name="connsiteY80" fmla="*/ 1191480 h 3624606"/>
              <a:gd name="connsiteX81" fmla="*/ 0 w 513703"/>
              <a:gd name="connsiteY81" fmla="*/ 1116057 h 3624606"/>
              <a:gd name="connsiteX82" fmla="*/ 75423 w 513703"/>
              <a:gd name="connsiteY82" fmla="*/ 1040634 h 3624606"/>
              <a:gd name="connsiteX83" fmla="*/ 438280 w 513703"/>
              <a:gd name="connsiteY83" fmla="*/ 1040634 h 3624606"/>
              <a:gd name="connsiteX84" fmla="*/ 513703 w 513703"/>
              <a:gd name="connsiteY84" fmla="*/ 1116057 h 3624606"/>
              <a:gd name="connsiteX85" fmla="*/ 438280 w 513703"/>
              <a:gd name="connsiteY85" fmla="*/ 1191480 h 3624606"/>
              <a:gd name="connsiteX86" fmla="*/ 362857 w 513703"/>
              <a:gd name="connsiteY86" fmla="*/ 1116057 h 3624606"/>
              <a:gd name="connsiteX87" fmla="*/ 438280 w 513703"/>
              <a:gd name="connsiteY87" fmla="*/ 1040634 h 3624606"/>
              <a:gd name="connsiteX88" fmla="*/ 438280 w 513703"/>
              <a:gd name="connsiteY88" fmla="*/ 693756 h 3624606"/>
              <a:gd name="connsiteX89" fmla="*/ 513703 w 513703"/>
              <a:gd name="connsiteY89" fmla="*/ 769179 h 3624606"/>
              <a:gd name="connsiteX90" fmla="*/ 438280 w 513703"/>
              <a:gd name="connsiteY90" fmla="*/ 844602 h 3624606"/>
              <a:gd name="connsiteX91" fmla="*/ 362857 w 513703"/>
              <a:gd name="connsiteY91" fmla="*/ 769179 h 3624606"/>
              <a:gd name="connsiteX92" fmla="*/ 438280 w 513703"/>
              <a:gd name="connsiteY92" fmla="*/ 693756 h 3624606"/>
              <a:gd name="connsiteX93" fmla="*/ 75423 w 513703"/>
              <a:gd name="connsiteY93" fmla="*/ 693756 h 3624606"/>
              <a:gd name="connsiteX94" fmla="*/ 150846 w 513703"/>
              <a:gd name="connsiteY94" fmla="*/ 769179 h 3624606"/>
              <a:gd name="connsiteX95" fmla="*/ 75423 w 513703"/>
              <a:gd name="connsiteY95" fmla="*/ 844602 h 3624606"/>
              <a:gd name="connsiteX96" fmla="*/ 0 w 513703"/>
              <a:gd name="connsiteY96" fmla="*/ 769179 h 3624606"/>
              <a:gd name="connsiteX97" fmla="*/ 75423 w 513703"/>
              <a:gd name="connsiteY97" fmla="*/ 693756 h 3624606"/>
              <a:gd name="connsiteX98" fmla="*/ 75423 w 513703"/>
              <a:gd name="connsiteY98" fmla="*/ 346879 h 3624606"/>
              <a:gd name="connsiteX99" fmla="*/ 150846 w 513703"/>
              <a:gd name="connsiteY99" fmla="*/ 422302 h 3624606"/>
              <a:gd name="connsiteX100" fmla="*/ 75423 w 513703"/>
              <a:gd name="connsiteY100" fmla="*/ 497724 h 3624606"/>
              <a:gd name="connsiteX101" fmla="*/ 0 w 513703"/>
              <a:gd name="connsiteY101" fmla="*/ 422302 h 3624606"/>
              <a:gd name="connsiteX102" fmla="*/ 75423 w 513703"/>
              <a:gd name="connsiteY102" fmla="*/ 346879 h 3624606"/>
              <a:gd name="connsiteX103" fmla="*/ 438280 w 513703"/>
              <a:gd name="connsiteY103" fmla="*/ 346878 h 3624606"/>
              <a:gd name="connsiteX104" fmla="*/ 513703 w 513703"/>
              <a:gd name="connsiteY104" fmla="*/ 422301 h 3624606"/>
              <a:gd name="connsiteX105" fmla="*/ 438280 w 513703"/>
              <a:gd name="connsiteY105" fmla="*/ 497724 h 3624606"/>
              <a:gd name="connsiteX106" fmla="*/ 362857 w 513703"/>
              <a:gd name="connsiteY106" fmla="*/ 422301 h 3624606"/>
              <a:gd name="connsiteX107" fmla="*/ 438280 w 513703"/>
              <a:gd name="connsiteY107" fmla="*/ 346878 h 3624606"/>
              <a:gd name="connsiteX108" fmla="*/ 75423 w 513703"/>
              <a:gd name="connsiteY108" fmla="*/ 1 h 3624606"/>
              <a:gd name="connsiteX109" fmla="*/ 150846 w 513703"/>
              <a:gd name="connsiteY109" fmla="*/ 75424 h 3624606"/>
              <a:gd name="connsiteX110" fmla="*/ 75423 w 513703"/>
              <a:gd name="connsiteY110" fmla="*/ 150847 h 3624606"/>
              <a:gd name="connsiteX111" fmla="*/ 0 w 513703"/>
              <a:gd name="connsiteY111" fmla="*/ 75424 h 3624606"/>
              <a:gd name="connsiteX112" fmla="*/ 75423 w 513703"/>
              <a:gd name="connsiteY112" fmla="*/ 1 h 3624606"/>
              <a:gd name="connsiteX113" fmla="*/ 438280 w 513703"/>
              <a:gd name="connsiteY113" fmla="*/ 0 h 3624606"/>
              <a:gd name="connsiteX114" fmla="*/ 513703 w 513703"/>
              <a:gd name="connsiteY114" fmla="*/ 75424 h 3624606"/>
              <a:gd name="connsiteX115" fmla="*/ 438280 w 513703"/>
              <a:gd name="connsiteY115" fmla="*/ 150847 h 3624606"/>
              <a:gd name="connsiteX116" fmla="*/ 362857 w 513703"/>
              <a:gd name="connsiteY116" fmla="*/ 75424 h 3624606"/>
              <a:gd name="connsiteX117" fmla="*/ 438280 w 513703"/>
              <a:gd name="connsiteY117" fmla="*/ 0 h 3624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513703" h="3624606">
                <a:moveTo>
                  <a:pt x="438280" y="3473760"/>
                </a:moveTo>
                <a:cubicBezTo>
                  <a:pt x="479935" y="3473760"/>
                  <a:pt x="513703" y="3507528"/>
                  <a:pt x="513703" y="3549183"/>
                </a:cubicBezTo>
                <a:cubicBezTo>
                  <a:pt x="513703" y="3590838"/>
                  <a:pt x="479935" y="3624606"/>
                  <a:pt x="438280" y="3624606"/>
                </a:cubicBezTo>
                <a:cubicBezTo>
                  <a:pt x="396625" y="3624606"/>
                  <a:pt x="362857" y="3590838"/>
                  <a:pt x="362857" y="3549183"/>
                </a:cubicBezTo>
                <a:cubicBezTo>
                  <a:pt x="362857" y="3507528"/>
                  <a:pt x="396625" y="3473760"/>
                  <a:pt x="438280" y="3473760"/>
                </a:cubicBezTo>
                <a:close/>
                <a:moveTo>
                  <a:pt x="75423" y="3473760"/>
                </a:moveTo>
                <a:cubicBezTo>
                  <a:pt x="117078" y="3473760"/>
                  <a:pt x="150846" y="3507528"/>
                  <a:pt x="150846" y="3549183"/>
                </a:cubicBezTo>
                <a:cubicBezTo>
                  <a:pt x="150846" y="3590838"/>
                  <a:pt x="117078" y="3624606"/>
                  <a:pt x="75423" y="3624606"/>
                </a:cubicBezTo>
                <a:cubicBezTo>
                  <a:pt x="33768" y="3624606"/>
                  <a:pt x="0" y="3590838"/>
                  <a:pt x="0" y="3549183"/>
                </a:cubicBezTo>
                <a:cubicBezTo>
                  <a:pt x="0" y="3507528"/>
                  <a:pt x="33768" y="3473760"/>
                  <a:pt x="75423" y="3473760"/>
                </a:cubicBezTo>
                <a:close/>
                <a:moveTo>
                  <a:pt x="438280" y="3126882"/>
                </a:moveTo>
                <a:cubicBezTo>
                  <a:pt x="479935" y="3126882"/>
                  <a:pt x="513703" y="3160650"/>
                  <a:pt x="513703" y="3202305"/>
                </a:cubicBezTo>
                <a:cubicBezTo>
                  <a:pt x="513703" y="3243960"/>
                  <a:pt x="479935" y="3277728"/>
                  <a:pt x="438280" y="3277728"/>
                </a:cubicBezTo>
                <a:cubicBezTo>
                  <a:pt x="396625" y="3277728"/>
                  <a:pt x="362857" y="3243960"/>
                  <a:pt x="362857" y="3202305"/>
                </a:cubicBezTo>
                <a:cubicBezTo>
                  <a:pt x="362857" y="3160650"/>
                  <a:pt x="396625" y="3126882"/>
                  <a:pt x="438280" y="3126882"/>
                </a:cubicBezTo>
                <a:close/>
                <a:moveTo>
                  <a:pt x="75423" y="3126882"/>
                </a:moveTo>
                <a:cubicBezTo>
                  <a:pt x="117078" y="3126882"/>
                  <a:pt x="150846" y="3160650"/>
                  <a:pt x="150846" y="3202305"/>
                </a:cubicBezTo>
                <a:cubicBezTo>
                  <a:pt x="150846" y="3243960"/>
                  <a:pt x="117078" y="3277728"/>
                  <a:pt x="75423" y="3277728"/>
                </a:cubicBezTo>
                <a:cubicBezTo>
                  <a:pt x="33768" y="3277728"/>
                  <a:pt x="0" y="3243960"/>
                  <a:pt x="0" y="3202305"/>
                </a:cubicBezTo>
                <a:cubicBezTo>
                  <a:pt x="0" y="3160650"/>
                  <a:pt x="33768" y="3126882"/>
                  <a:pt x="75423" y="3126882"/>
                </a:cubicBezTo>
                <a:close/>
                <a:moveTo>
                  <a:pt x="438280" y="2780004"/>
                </a:moveTo>
                <a:cubicBezTo>
                  <a:pt x="479935" y="2780004"/>
                  <a:pt x="513703" y="2813772"/>
                  <a:pt x="513703" y="2855427"/>
                </a:cubicBezTo>
                <a:cubicBezTo>
                  <a:pt x="513703" y="2897082"/>
                  <a:pt x="479935" y="2930850"/>
                  <a:pt x="438280" y="2930850"/>
                </a:cubicBezTo>
                <a:cubicBezTo>
                  <a:pt x="396625" y="2930850"/>
                  <a:pt x="362857" y="2897082"/>
                  <a:pt x="362857" y="2855427"/>
                </a:cubicBezTo>
                <a:cubicBezTo>
                  <a:pt x="362857" y="2813772"/>
                  <a:pt x="396625" y="2780004"/>
                  <a:pt x="438280" y="2780004"/>
                </a:cubicBezTo>
                <a:close/>
                <a:moveTo>
                  <a:pt x="75423" y="2780004"/>
                </a:moveTo>
                <a:cubicBezTo>
                  <a:pt x="117078" y="2780004"/>
                  <a:pt x="150846" y="2813772"/>
                  <a:pt x="150846" y="2855427"/>
                </a:cubicBezTo>
                <a:cubicBezTo>
                  <a:pt x="150846" y="2897082"/>
                  <a:pt x="117078" y="2930850"/>
                  <a:pt x="75423" y="2930850"/>
                </a:cubicBezTo>
                <a:cubicBezTo>
                  <a:pt x="33768" y="2930850"/>
                  <a:pt x="0" y="2897082"/>
                  <a:pt x="0" y="2855427"/>
                </a:cubicBezTo>
                <a:cubicBezTo>
                  <a:pt x="0" y="2813772"/>
                  <a:pt x="33768" y="2780004"/>
                  <a:pt x="75423" y="2780004"/>
                </a:cubicBezTo>
                <a:close/>
                <a:moveTo>
                  <a:pt x="438280" y="2433126"/>
                </a:moveTo>
                <a:cubicBezTo>
                  <a:pt x="479935" y="2433126"/>
                  <a:pt x="513703" y="2466894"/>
                  <a:pt x="513703" y="2508549"/>
                </a:cubicBezTo>
                <a:cubicBezTo>
                  <a:pt x="513703" y="2550204"/>
                  <a:pt x="479935" y="2583972"/>
                  <a:pt x="438280" y="2583972"/>
                </a:cubicBezTo>
                <a:cubicBezTo>
                  <a:pt x="396625" y="2583972"/>
                  <a:pt x="362857" y="2550204"/>
                  <a:pt x="362857" y="2508549"/>
                </a:cubicBezTo>
                <a:cubicBezTo>
                  <a:pt x="362857" y="2466894"/>
                  <a:pt x="396625" y="2433126"/>
                  <a:pt x="438280" y="2433126"/>
                </a:cubicBezTo>
                <a:close/>
                <a:moveTo>
                  <a:pt x="75423" y="2433126"/>
                </a:moveTo>
                <a:cubicBezTo>
                  <a:pt x="117078" y="2433126"/>
                  <a:pt x="150846" y="2466894"/>
                  <a:pt x="150846" y="2508549"/>
                </a:cubicBezTo>
                <a:cubicBezTo>
                  <a:pt x="150846" y="2550204"/>
                  <a:pt x="117078" y="2583972"/>
                  <a:pt x="75423" y="2583972"/>
                </a:cubicBezTo>
                <a:cubicBezTo>
                  <a:pt x="33768" y="2583972"/>
                  <a:pt x="0" y="2550204"/>
                  <a:pt x="0" y="2508549"/>
                </a:cubicBezTo>
                <a:cubicBezTo>
                  <a:pt x="0" y="2466894"/>
                  <a:pt x="33768" y="2433126"/>
                  <a:pt x="75423" y="2433126"/>
                </a:cubicBezTo>
                <a:close/>
                <a:moveTo>
                  <a:pt x="438280" y="2086248"/>
                </a:moveTo>
                <a:cubicBezTo>
                  <a:pt x="479935" y="2086248"/>
                  <a:pt x="513703" y="2120016"/>
                  <a:pt x="513703" y="2161671"/>
                </a:cubicBezTo>
                <a:cubicBezTo>
                  <a:pt x="513703" y="2203326"/>
                  <a:pt x="479935" y="2237094"/>
                  <a:pt x="438280" y="2237094"/>
                </a:cubicBezTo>
                <a:cubicBezTo>
                  <a:pt x="396625" y="2237094"/>
                  <a:pt x="362857" y="2203326"/>
                  <a:pt x="362857" y="2161671"/>
                </a:cubicBezTo>
                <a:cubicBezTo>
                  <a:pt x="362857" y="2120016"/>
                  <a:pt x="396625" y="2086248"/>
                  <a:pt x="438280" y="2086248"/>
                </a:cubicBezTo>
                <a:close/>
                <a:moveTo>
                  <a:pt x="75423" y="2086248"/>
                </a:moveTo>
                <a:cubicBezTo>
                  <a:pt x="117078" y="2086248"/>
                  <a:pt x="150846" y="2120016"/>
                  <a:pt x="150846" y="2161671"/>
                </a:cubicBezTo>
                <a:cubicBezTo>
                  <a:pt x="150846" y="2203326"/>
                  <a:pt x="117078" y="2237094"/>
                  <a:pt x="75423" y="2237094"/>
                </a:cubicBezTo>
                <a:cubicBezTo>
                  <a:pt x="33768" y="2237094"/>
                  <a:pt x="0" y="2203326"/>
                  <a:pt x="0" y="2161671"/>
                </a:cubicBezTo>
                <a:cubicBezTo>
                  <a:pt x="0" y="2120016"/>
                  <a:pt x="33768" y="2086248"/>
                  <a:pt x="75423" y="2086248"/>
                </a:cubicBezTo>
                <a:close/>
                <a:moveTo>
                  <a:pt x="438280" y="1734390"/>
                </a:moveTo>
                <a:cubicBezTo>
                  <a:pt x="479935" y="1734390"/>
                  <a:pt x="513703" y="1768158"/>
                  <a:pt x="513703" y="1809813"/>
                </a:cubicBezTo>
                <a:lnTo>
                  <a:pt x="513200" y="1812303"/>
                </a:lnTo>
                <a:lnTo>
                  <a:pt x="513703" y="1814793"/>
                </a:lnTo>
                <a:cubicBezTo>
                  <a:pt x="513703" y="1856448"/>
                  <a:pt x="479935" y="1890216"/>
                  <a:pt x="438280" y="1890216"/>
                </a:cubicBezTo>
                <a:cubicBezTo>
                  <a:pt x="396625" y="1890216"/>
                  <a:pt x="362857" y="1856448"/>
                  <a:pt x="362857" y="1814793"/>
                </a:cubicBezTo>
                <a:lnTo>
                  <a:pt x="363360" y="1812303"/>
                </a:lnTo>
                <a:lnTo>
                  <a:pt x="362857" y="1809813"/>
                </a:lnTo>
                <a:cubicBezTo>
                  <a:pt x="362857" y="1768158"/>
                  <a:pt x="396625" y="1734390"/>
                  <a:pt x="438280" y="1734390"/>
                </a:cubicBezTo>
                <a:close/>
                <a:moveTo>
                  <a:pt x="75423" y="1734390"/>
                </a:moveTo>
                <a:cubicBezTo>
                  <a:pt x="117078" y="1734390"/>
                  <a:pt x="150846" y="1768158"/>
                  <a:pt x="150846" y="1809813"/>
                </a:cubicBezTo>
                <a:lnTo>
                  <a:pt x="150343" y="1812303"/>
                </a:lnTo>
                <a:lnTo>
                  <a:pt x="150846" y="1814793"/>
                </a:lnTo>
                <a:cubicBezTo>
                  <a:pt x="150846" y="1856448"/>
                  <a:pt x="117078" y="1890216"/>
                  <a:pt x="75423" y="1890216"/>
                </a:cubicBezTo>
                <a:cubicBezTo>
                  <a:pt x="33768" y="1890216"/>
                  <a:pt x="0" y="1856448"/>
                  <a:pt x="0" y="1814793"/>
                </a:cubicBezTo>
                <a:lnTo>
                  <a:pt x="503" y="1812303"/>
                </a:lnTo>
                <a:lnTo>
                  <a:pt x="0" y="1809813"/>
                </a:lnTo>
                <a:cubicBezTo>
                  <a:pt x="0" y="1768158"/>
                  <a:pt x="33768" y="1734390"/>
                  <a:pt x="75423" y="1734390"/>
                </a:cubicBezTo>
                <a:close/>
                <a:moveTo>
                  <a:pt x="438280" y="1387512"/>
                </a:moveTo>
                <a:cubicBezTo>
                  <a:pt x="479935" y="1387512"/>
                  <a:pt x="513703" y="1421280"/>
                  <a:pt x="513703" y="1462935"/>
                </a:cubicBezTo>
                <a:cubicBezTo>
                  <a:pt x="513703" y="1504590"/>
                  <a:pt x="479935" y="1538358"/>
                  <a:pt x="438280" y="1538358"/>
                </a:cubicBezTo>
                <a:cubicBezTo>
                  <a:pt x="396625" y="1538358"/>
                  <a:pt x="362857" y="1504590"/>
                  <a:pt x="362857" y="1462935"/>
                </a:cubicBezTo>
                <a:cubicBezTo>
                  <a:pt x="362857" y="1421280"/>
                  <a:pt x="396625" y="1387512"/>
                  <a:pt x="438280" y="1387512"/>
                </a:cubicBezTo>
                <a:close/>
                <a:moveTo>
                  <a:pt x="75423" y="1387512"/>
                </a:moveTo>
                <a:cubicBezTo>
                  <a:pt x="117078" y="1387512"/>
                  <a:pt x="150846" y="1421280"/>
                  <a:pt x="150846" y="1462935"/>
                </a:cubicBezTo>
                <a:cubicBezTo>
                  <a:pt x="150846" y="1504590"/>
                  <a:pt x="117078" y="1538358"/>
                  <a:pt x="75423" y="1538358"/>
                </a:cubicBezTo>
                <a:cubicBezTo>
                  <a:pt x="33768" y="1538358"/>
                  <a:pt x="0" y="1504590"/>
                  <a:pt x="0" y="1462935"/>
                </a:cubicBezTo>
                <a:cubicBezTo>
                  <a:pt x="0" y="1421280"/>
                  <a:pt x="33768" y="1387512"/>
                  <a:pt x="75423" y="1387512"/>
                </a:cubicBezTo>
                <a:close/>
                <a:moveTo>
                  <a:pt x="75423" y="1040634"/>
                </a:moveTo>
                <a:cubicBezTo>
                  <a:pt x="117078" y="1040634"/>
                  <a:pt x="150846" y="1074403"/>
                  <a:pt x="150846" y="1116057"/>
                </a:cubicBezTo>
                <a:cubicBezTo>
                  <a:pt x="150846" y="1157713"/>
                  <a:pt x="117078" y="1191480"/>
                  <a:pt x="75423" y="1191480"/>
                </a:cubicBezTo>
                <a:cubicBezTo>
                  <a:pt x="33768" y="1191480"/>
                  <a:pt x="0" y="1157713"/>
                  <a:pt x="0" y="1116057"/>
                </a:cubicBezTo>
                <a:cubicBezTo>
                  <a:pt x="0" y="1074403"/>
                  <a:pt x="33768" y="1040634"/>
                  <a:pt x="75423" y="1040634"/>
                </a:cubicBezTo>
                <a:close/>
                <a:moveTo>
                  <a:pt x="438280" y="1040634"/>
                </a:moveTo>
                <a:cubicBezTo>
                  <a:pt x="479935" y="1040634"/>
                  <a:pt x="513703" y="1074402"/>
                  <a:pt x="513703" y="1116057"/>
                </a:cubicBezTo>
                <a:cubicBezTo>
                  <a:pt x="513703" y="1157712"/>
                  <a:pt x="479935" y="1191480"/>
                  <a:pt x="438280" y="1191480"/>
                </a:cubicBezTo>
                <a:cubicBezTo>
                  <a:pt x="396625" y="1191480"/>
                  <a:pt x="362857" y="1157712"/>
                  <a:pt x="362857" y="1116057"/>
                </a:cubicBezTo>
                <a:cubicBezTo>
                  <a:pt x="362857" y="1074402"/>
                  <a:pt x="396625" y="1040634"/>
                  <a:pt x="438280" y="1040634"/>
                </a:cubicBezTo>
                <a:close/>
                <a:moveTo>
                  <a:pt x="438280" y="693756"/>
                </a:moveTo>
                <a:cubicBezTo>
                  <a:pt x="479935" y="693756"/>
                  <a:pt x="513703" y="727524"/>
                  <a:pt x="513703" y="769179"/>
                </a:cubicBezTo>
                <a:cubicBezTo>
                  <a:pt x="513703" y="810834"/>
                  <a:pt x="479935" y="844602"/>
                  <a:pt x="438280" y="844602"/>
                </a:cubicBezTo>
                <a:cubicBezTo>
                  <a:pt x="396625" y="844602"/>
                  <a:pt x="362857" y="810834"/>
                  <a:pt x="362857" y="769179"/>
                </a:cubicBezTo>
                <a:cubicBezTo>
                  <a:pt x="362857" y="727524"/>
                  <a:pt x="396625" y="693756"/>
                  <a:pt x="438280" y="693756"/>
                </a:cubicBezTo>
                <a:close/>
                <a:moveTo>
                  <a:pt x="75423" y="693756"/>
                </a:moveTo>
                <a:cubicBezTo>
                  <a:pt x="117078" y="693756"/>
                  <a:pt x="150846" y="727525"/>
                  <a:pt x="150846" y="769179"/>
                </a:cubicBezTo>
                <a:cubicBezTo>
                  <a:pt x="150846" y="810834"/>
                  <a:pt x="117078" y="844602"/>
                  <a:pt x="75423" y="844602"/>
                </a:cubicBezTo>
                <a:cubicBezTo>
                  <a:pt x="33768" y="844602"/>
                  <a:pt x="0" y="810834"/>
                  <a:pt x="0" y="769179"/>
                </a:cubicBezTo>
                <a:cubicBezTo>
                  <a:pt x="0" y="727525"/>
                  <a:pt x="33768" y="693756"/>
                  <a:pt x="75423" y="693756"/>
                </a:cubicBezTo>
                <a:close/>
                <a:moveTo>
                  <a:pt x="75423" y="346879"/>
                </a:moveTo>
                <a:cubicBezTo>
                  <a:pt x="117078" y="346879"/>
                  <a:pt x="150846" y="380647"/>
                  <a:pt x="150846" y="422302"/>
                </a:cubicBezTo>
                <a:cubicBezTo>
                  <a:pt x="150846" y="463957"/>
                  <a:pt x="117078" y="497724"/>
                  <a:pt x="75423" y="497724"/>
                </a:cubicBezTo>
                <a:cubicBezTo>
                  <a:pt x="33768" y="497724"/>
                  <a:pt x="0" y="463957"/>
                  <a:pt x="0" y="422302"/>
                </a:cubicBezTo>
                <a:cubicBezTo>
                  <a:pt x="0" y="380647"/>
                  <a:pt x="33768" y="346879"/>
                  <a:pt x="75423" y="346879"/>
                </a:cubicBezTo>
                <a:close/>
                <a:moveTo>
                  <a:pt x="438280" y="346878"/>
                </a:moveTo>
                <a:cubicBezTo>
                  <a:pt x="479935" y="346878"/>
                  <a:pt x="513703" y="380646"/>
                  <a:pt x="513703" y="422301"/>
                </a:cubicBezTo>
                <a:cubicBezTo>
                  <a:pt x="513703" y="463956"/>
                  <a:pt x="479935" y="497724"/>
                  <a:pt x="438280" y="497724"/>
                </a:cubicBezTo>
                <a:cubicBezTo>
                  <a:pt x="396625" y="497724"/>
                  <a:pt x="362857" y="463956"/>
                  <a:pt x="362857" y="422301"/>
                </a:cubicBezTo>
                <a:cubicBezTo>
                  <a:pt x="362857" y="380646"/>
                  <a:pt x="396625" y="346878"/>
                  <a:pt x="438280" y="346878"/>
                </a:cubicBezTo>
                <a:close/>
                <a:moveTo>
                  <a:pt x="75423" y="1"/>
                </a:moveTo>
                <a:cubicBezTo>
                  <a:pt x="117078" y="1"/>
                  <a:pt x="150846" y="33769"/>
                  <a:pt x="150846" y="75424"/>
                </a:cubicBezTo>
                <a:cubicBezTo>
                  <a:pt x="150846" y="117079"/>
                  <a:pt x="117078" y="150847"/>
                  <a:pt x="75423" y="150847"/>
                </a:cubicBezTo>
                <a:cubicBezTo>
                  <a:pt x="33768" y="150847"/>
                  <a:pt x="0" y="117079"/>
                  <a:pt x="0" y="75424"/>
                </a:cubicBezTo>
                <a:cubicBezTo>
                  <a:pt x="0" y="33769"/>
                  <a:pt x="33768" y="1"/>
                  <a:pt x="75423" y="1"/>
                </a:cubicBezTo>
                <a:close/>
                <a:moveTo>
                  <a:pt x="438280" y="0"/>
                </a:moveTo>
                <a:cubicBezTo>
                  <a:pt x="479935" y="0"/>
                  <a:pt x="513703" y="33769"/>
                  <a:pt x="513703" y="75424"/>
                </a:cubicBezTo>
                <a:cubicBezTo>
                  <a:pt x="513703" y="117079"/>
                  <a:pt x="479935" y="150847"/>
                  <a:pt x="438280" y="150847"/>
                </a:cubicBezTo>
                <a:cubicBezTo>
                  <a:pt x="396625" y="150847"/>
                  <a:pt x="362857" y="117079"/>
                  <a:pt x="362857" y="75424"/>
                </a:cubicBezTo>
                <a:cubicBezTo>
                  <a:pt x="362857" y="33769"/>
                  <a:pt x="396625" y="0"/>
                  <a:pt x="438280" y="0"/>
                </a:cubicBezTo>
                <a:close/>
              </a:path>
            </a:pathLst>
          </a:custGeom>
          <a:gradFill>
            <a:gsLst>
              <a:gs pos="74000">
                <a:schemeClr val="accent2">
                  <a:alpha val="70000"/>
                </a:schemeClr>
              </a:gs>
              <a:gs pos="0">
                <a:schemeClr val="accent4">
                  <a:alpha val="70000"/>
                </a:schemeClr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25" name="图片 2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11186" y="488949"/>
            <a:ext cx="631826" cy="631826"/>
          </a:xfrm>
          <a:prstGeom prst="rect">
            <a:avLst/>
          </a:prstGeom>
        </p:spPr>
      </p:pic>
      <p:sp>
        <p:nvSpPr>
          <p:cNvPr id="11" name="矩形 10"/>
          <p:cNvSpPr/>
          <p:nvPr/>
        </p:nvSpPr>
        <p:spPr>
          <a:xfrm>
            <a:off x="1328773" y="589418"/>
            <a:ext cx="4527200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zh-CN" altLang="en-US" sz="2200" dirty="0">
                <a:solidFill>
                  <a:schemeClr val="bg1"/>
                </a:solidFill>
                <a:sym typeface="+mn-ea"/>
              </a:rPr>
              <a:t>大数据教材《</a:t>
            </a:r>
            <a:r>
              <a:rPr lang="en-US" altLang="zh-CN" sz="2200" dirty="0" err="1">
                <a:solidFill>
                  <a:schemeClr val="bg1"/>
                </a:solidFill>
                <a:sym typeface="+mn-ea"/>
              </a:rPr>
              <a:t>Redis</a:t>
            </a:r>
            <a:r>
              <a:rPr lang="en-US" altLang="zh-CN" sz="2200" dirty="0">
                <a:solidFill>
                  <a:schemeClr val="bg1"/>
                </a:solidFill>
                <a:sym typeface="+mn-ea"/>
              </a:rPr>
              <a:t> 6</a:t>
            </a:r>
            <a:r>
              <a:rPr lang="zh-CN" altLang="en-US" sz="2200" dirty="0">
                <a:solidFill>
                  <a:schemeClr val="bg1"/>
                </a:solidFill>
                <a:sym typeface="+mn-ea"/>
              </a:rPr>
              <a:t>开发与实战</a:t>
            </a:r>
            <a:r>
              <a:rPr lang="zh-CN" altLang="en-US" sz="2200" dirty="0" smtClean="0">
                <a:solidFill>
                  <a:schemeClr val="bg1"/>
                </a:solidFill>
                <a:sym typeface="+mn-ea"/>
              </a:rPr>
              <a:t>》</a:t>
            </a:r>
            <a:endParaRPr lang="zh-CN" altLang="en-US" sz="2200" b="1" dirty="0">
              <a:solidFill>
                <a:schemeClr val="accent2"/>
              </a:solidFill>
            </a:endParaRPr>
          </a:p>
        </p:txBody>
      </p:sp>
      <p:sp>
        <p:nvSpPr>
          <p:cNvPr id="17" name="矩形: 圆角 21"/>
          <p:cNvSpPr/>
          <p:nvPr/>
        </p:nvSpPr>
        <p:spPr>
          <a:xfrm>
            <a:off x="800099" y="4579447"/>
            <a:ext cx="4235540" cy="459272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tx1"/>
                </a:solidFill>
              </a:rPr>
              <a:t>主讲</a:t>
            </a:r>
            <a:r>
              <a:rPr lang="zh-CN" altLang="en-US" b="1" dirty="0" smtClean="0">
                <a:solidFill>
                  <a:schemeClr val="tx1"/>
                </a:solidFill>
              </a:rPr>
              <a:t>：</a:t>
            </a:r>
            <a:r>
              <a:rPr lang="en-US" altLang="zh-CN" b="1" dirty="0">
                <a:solidFill>
                  <a:schemeClr val="tx1"/>
                </a:solidFill>
              </a:rPr>
              <a:t> XXX</a:t>
            </a:r>
            <a:r>
              <a:rPr lang="zh-CN" altLang="en-US" b="1" dirty="0" smtClean="0">
                <a:solidFill>
                  <a:schemeClr val="tx1"/>
                </a:solidFill>
              </a:rPr>
              <a:t>        </a:t>
            </a:r>
            <a:r>
              <a:rPr lang="zh-CN" altLang="en-US" b="1" dirty="0">
                <a:solidFill>
                  <a:schemeClr val="tx1"/>
                </a:solidFill>
              </a:rPr>
              <a:t>主审</a:t>
            </a:r>
            <a:r>
              <a:rPr lang="zh-CN" altLang="en-US" b="1" dirty="0" smtClean="0">
                <a:solidFill>
                  <a:schemeClr val="tx1"/>
                </a:solidFill>
              </a:rPr>
              <a:t>：</a:t>
            </a:r>
            <a:r>
              <a:rPr lang="en-US" altLang="zh-CN" b="1" dirty="0">
                <a:solidFill>
                  <a:schemeClr val="tx1"/>
                </a:solidFill>
              </a:rPr>
              <a:t> XXX</a:t>
            </a:r>
            <a:endParaRPr lang="zh-CN" altLang="en-US" b="1" dirty="0">
              <a:solidFill>
                <a:schemeClr val="tx1"/>
              </a:solidFill>
            </a:endParaRP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9684121" y="5993053"/>
            <a:ext cx="2074491" cy="431799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5211" y="1120775"/>
            <a:ext cx="3353401" cy="4698348"/>
          </a:xfrm>
          <a:prstGeom prst="rect">
            <a:avLst/>
          </a:prstGeom>
        </p:spPr>
      </p:pic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79031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6.3Redis Cluster集群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669925" y="1063625"/>
            <a:ext cx="10870565" cy="15684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Redis Cluster集群是一个由多个主从节点组成的分布式服务器群，它具有复制、高可用和分片特性。Redis集群将所有数据存储区域划分为16384个槽位(slots)，每个节点负责一部分槽位，槽位的信息存储于每个节点中。Redis集群要将每个节点设置成集群模式，它没有中心节点，可水平扩展，它的性能和高可用性均优于主从模式和哨兵模式，而且集群配置非常简单。Redis 集群架构图如下图所示。</a:t>
            </a:r>
          </a:p>
        </p:txBody>
      </p:sp>
      <p:pic>
        <p:nvPicPr>
          <p:cNvPr id="96" name="图片 9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534160" y="3094990"/>
            <a:ext cx="3752850" cy="268478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文本框 2"/>
          <p:cNvSpPr txBox="1"/>
          <p:nvPr/>
        </p:nvSpPr>
        <p:spPr>
          <a:xfrm>
            <a:off x="5637530" y="2733675"/>
            <a:ext cx="5080000" cy="3046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从Redis Cluster的架构图中可以很容易的看出首先将数据根据hash规则分配到6个slot(槽)中，然后根据CRC算法和取模算法将6个slot分别存储到3个不同的Master节点中，每个Master节点又配套部署了一个Slave节点，当一个Master出现问题后，Slave节点可以顶上。这种Redis Cluster方案对比哨兵模式方案的优点在于提高了读写的并发，分散了I/O，在保障高可用的前提下提高了性能。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79031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6.3Redis Cluster集群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669925" y="1038860"/>
            <a:ext cx="2569845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1 Redis集群环境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1036955" y="1499235"/>
            <a:ext cx="10074910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0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Redis集群（Cluster）在物理结构上是由集群上多个节点构成的，这些节点分为两类，一类叫“主节点”(Master),另一类叫”从节点”(Slave)。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036955" y="2082800"/>
            <a:ext cx="4248785" cy="11988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Redis集群节点要求：</a:t>
            </a:r>
          </a:p>
          <a:p>
            <a:pPr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1）主节点（Master）不能少于总结点的一半。</a:t>
            </a:r>
          </a:p>
          <a:p>
            <a:pPr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2）主节点（Master）至少要有3个。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1036955" y="3628390"/>
            <a:ext cx="10223500" cy="1938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一个Redis集群正常工作至少需要要三个Master（主节点）且不能少于总节点的一半，本集群环境使用一台节点服务器，在这台服务器开启6个Redis实例，每个Redis实例占用1个端口，模拟3个Master(主节点)和3个Slave(从节点）环境，组成一个Redis Cluster(集群），这里用一台机器部署6个Redis实例，也可以多台机器部署Redis集群，修改Redis配置文件redis.conf的IP地址就可以了。本集群实验采用三主三从模式，每个Master(主节点)处理各自的数据，提供读写能力，每个Slave(从节点)异步复制主节点的数据。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79031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6.3Redis Cluster集群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669925" y="1038860"/>
            <a:ext cx="2569845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1 Redis集群环境</a:t>
            </a:r>
          </a:p>
        </p:txBody>
      </p:sp>
      <p:graphicFrame>
        <p:nvGraphicFramePr>
          <p:cNvPr id="2" name="表格 1"/>
          <p:cNvGraphicFramePr/>
          <p:nvPr>
            <p:custDataLst>
              <p:tags r:id="rId2"/>
            </p:custDataLst>
          </p:nvPr>
        </p:nvGraphicFramePr>
        <p:xfrm>
          <a:off x="1108393" y="1937385"/>
          <a:ext cx="5216525" cy="1524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779588"/>
                <a:gridCol w="1366837"/>
                <a:gridCol w="989013"/>
                <a:gridCol w="1081087"/>
              </a:tblGrid>
              <a:tr h="152400"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4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IP地址</a:t>
                      </a:r>
                      <a:endParaRPr lang="en-US" altLang="en-US" sz="14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4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端口</a:t>
                      </a:r>
                      <a:endParaRPr lang="en-US" altLang="en-US" sz="14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4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版本</a:t>
                      </a:r>
                      <a:endParaRPr lang="en-US" altLang="en-US" sz="14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4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操作系统</a:t>
                      </a:r>
                      <a:endParaRPr lang="en-US" altLang="en-US" sz="14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 rowSpan="6"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400" b="0">
                          <a:latin typeface="Calibri" panose="020F0502020204030204" charset="0"/>
                          <a:cs typeface="Calibri" panose="020F0502020204030204" charset="0"/>
                        </a:rPr>
                        <a:t>  </a:t>
                      </a:r>
                      <a:r>
                        <a:rPr lang="en-US" sz="14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192.168.</a:t>
                      </a:r>
                      <a:r>
                        <a:rPr lang="en-US" sz="1400" b="0">
                          <a:latin typeface="Calibri" panose="020F0502020204030204" charset="0"/>
                          <a:cs typeface="Calibri" panose="020F0502020204030204" charset="0"/>
                        </a:rPr>
                        <a:t>11.15</a:t>
                      </a:r>
                      <a:endParaRPr lang="en-US" altLang="en-US" sz="14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400" b="0">
                          <a:latin typeface="Calibri" panose="020F0502020204030204" charset="0"/>
                          <a:cs typeface="Calibri" panose="020F0502020204030204" charset="0"/>
                        </a:rPr>
                        <a:t>8</a:t>
                      </a:r>
                      <a:r>
                        <a:rPr lang="en-US" sz="14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00</a:t>
                      </a:r>
                      <a:r>
                        <a:rPr lang="en-US" sz="1400" b="0">
                          <a:latin typeface="Calibri" panose="020F0502020204030204" charset="0"/>
                          <a:cs typeface="Calibri" panose="020F0502020204030204" charset="0"/>
                        </a:rPr>
                        <a:t>1</a:t>
                      </a:r>
                      <a:endParaRPr lang="en-US" altLang="en-US" sz="14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6"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400" b="0">
                          <a:latin typeface="Calibri" panose="020F0502020204030204" charset="0"/>
                          <a:cs typeface="Calibri" panose="020F0502020204030204" charset="0"/>
                        </a:rPr>
                        <a:t>  </a:t>
                      </a:r>
                      <a:r>
                        <a:rPr lang="en-US" sz="14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Re</a:t>
                      </a:r>
                      <a:r>
                        <a:rPr lang="en-US" sz="1400" b="0">
                          <a:latin typeface="Calibri" panose="020F0502020204030204" charset="0"/>
                          <a:cs typeface="Calibri" panose="020F0502020204030204" charset="0"/>
                        </a:rPr>
                        <a:t>dis 6.0.6</a:t>
                      </a:r>
                      <a:endParaRPr lang="en-US" altLang="en-US" sz="14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6"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400" b="0">
                          <a:latin typeface="Calibri" panose="020F0502020204030204" charset="0"/>
                          <a:cs typeface="Calibri" panose="020F0502020204030204" charset="0"/>
                        </a:rPr>
                        <a:t>  </a:t>
                      </a:r>
                      <a:r>
                        <a:rPr lang="en-US" sz="14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CentOS7</a:t>
                      </a:r>
                      <a:r>
                        <a:rPr lang="en-US" sz="1400" b="0">
                          <a:latin typeface="Calibri" panose="020F0502020204030204" charset="0"/>
                          <a:cs typeface="Calibri" panose="020F0502020204030204" charset="0"/>
                        </a:rPr>
                        <a:t>64</a:t>
                      </a:r>
                      <a:r>
                        <a:rPr lang="en-US" sz="14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位 </a:t>
                      </a:r>
                      <a:endParaRPr lang="en-US" altLang="en-US" sz="14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400" b="0">
                          <a:latin typeface="Calibri" panose="020F0502020204030204" charset="0"/>
                          <a:cs typeface="Calibri" panose="020F0502020204030204" charset="0"/>
                        </a:rPr>
                        <a:t>8</a:t>
                      </a:r>
                      <a:r>
                        <a:rPr lang="en-US" sz="14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00</a:t>
                      </a:r>
                      <a:r>
                        <a:rPr lang="en-US" sz="1400" b="0">
                          <a:latin typeface="Calibri" panose="020F0502020204030204" charset="0"/>
                          <a:cs typeface="Calibri" panose="020F0502020204030204" charset="0"/>
                        </a:rPr>
                        <a:t>2</a:t>
                      </a:r>
                      <a:endParaRPr lang="en-US" altLang="en-US" sz="14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400" b="0">
                          <a:latin typeface="Calibri" panose="020F0502020204030204" charset="0"/>
                          <a:cs typeface="Calibri" panose="020F0502020204030204" charset="0"/>
                        </a:rPr>
                        <a:t>8</a:t>
                      </a:r>
                      <a:r>
                        <a:rPr lang="en-US" sz="14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00</a:t>
                      </a:r>
                      <a:r>
                        <a:rPr lang="en-US" sz="1400" b="0">
                          <a:latin typeface="Calibri" panose="020F0502020204030204" charset="0"/>
                          <a:cs typeface="Calibri" panose="020F0502020204030204" charset="0"/>
                        </a:rPr>
                        <a:t>3</a:t>
                      </a:r>
                      <a:endParaRPr lang="en-US" altLang="en-US" sz="14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400" b="0">
                          <a:latin typeface="Calibri" panose="020F0502020204030204" charset="0"/>
                          <a:cs typeface="Calibri" panose="020F0502020204030204" charset="0"/>
                        </a:rPr>
                        <a:t>8</a:t>
                      </a:r>
                      <a:r>
                        <a:rPr lang="en-US" sz="14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00</a:t>
                      </a:r>
                      <a:r>
                        <a:rPr lang="en-US" sz="1400" b="0">
                          <a:latin typeface="Calibri" panose="020F0502020204030204" charset="0"/>
                          <a:cs typeface="Calibri" panose="020F0502020204030204" charset="0"/>
                        </a:rPr>
                        <a:t>4</a:t>
                      </a:r>
                      <a:endParaRPr lang="en-US" altLang="en-US" sz="14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400" b="0">
                          <a:latin typeface="Calibri" panose="020F0502020204030204" charset="0"/>
                          <a:cs typeface="Calibri" panose="020F0502020204030204" charset="0"/>
                        </a:rPr>
                        <a:t>8</a:t>
                      </a:r>
                      <a:r>
                        <a:rPr lang="en-US" sz="14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00</a:t>
                      </a:r>
                      <a:r>
                        <a:rPr lang="en-US" sz="1400" b="0">
                          <a:latin typeface="Calibri" panose="020F0502020204030204" charset="0"/>
                          <a:cs typeface="Calibri" panose="020F0502020204030204" charset="0"/>
                        </a:rPr>
                        <a:t>5</a:t>
                      </a:r>
                      <a:endParaRPr lang="en-US" altLang="en-US" sz="14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400" b="0">
                          <a:latin typeface="Calibri" panose="020F0502020204030204" charset="0"/>
                          <a:cs typeface="Calibri" panose="020F0502020204030204" charset="0"/>
                        </a:rPr>
                        <a:t>8</a:t>
                      </a:r>
                      <a:r>
                        <a:rPr lang="en-US" sz="14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00</a:t>
                      </a:r>
                      <a:r>
                        <a:rPr lang="en-US" sz="1400" b="0">
                          <a:latin typeface="Calibri" panose="020F0502020204030204" charset="0"/>
                          <a:cs typeface="Calibri" panose="020F0502020204030204" charset="0"/>
                        </a:rPr>
                        <a:t>6</a:t>
                      </a:r>
                      <a:endParaRPr lang="en-US" altLang="en-US" sz="14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3" name="文本框 2"/>
          <p:cNvSpPr txBox="1"/>
          <p:nvPr/>
        </p:nvSpPr>
        <p:spPr>
          <a:xfrm>
            <a:off x="986155" y="1499235"/>
            <a:ext cx="224536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Redis 集群的实验环境</a:t>
            </a:r>
          </a:p>
        </p:txBody>
      </p:sp>
      <p:sp>
        <p:nvSpPr>
          <p:cNvPr id="7" name="文本框 6"/>
          <p:cNvSpPr txBox="1"/>
          <p:nvPr/>
        </p:nvSpPr>
        <p:spPr>
          <a:xfrm>
            <a:off x="986155" y="3430905"/>
            <a:ext cx="273685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以root用户登录Linux服务器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79031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6.3Redis Cluster集群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669925" y="1038860"/>
            <a:ext cx="3131185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2 开始Redis集群搭建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740410" y="1499235"/>
            <a:ext cx="192214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第一步：安装Redis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740410" y="1836420"/>
            <a:ext cx="438086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1，首先，安装gcc基础依赖包，使用如下命令。</a:t>
            </a: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7885" y="2173605"/>
            <a:ext cx="1990725" cy="200025"/>
          </a:xfrm>
          <a:prstGeom prst="rect">
            <a:avLst/>
          </a:prstGeom>
        </p:spPr>
      </p:pic>
      <p:sp>
        <p:nvSpPr>
          <p:cNvPr id="8" name="文本框 7"/>
          <p:cNvSpPr txBox="1"/>
          <p:nvPr/>
        </p:nvSpPr>
        <p:spPr>
          <a:xfrm>
            <a:off x="765175" y="2373630"/>
            <a:ext cx="217614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2, 下载Redis并解压缩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57885" y="2710815"/>
            <a:ext cx="4572000" cy="190500"/>
          </a:xfrm>
          <a:prstGeom prst="rect">
            <a:avLst/>
          </a:prstGeom>
        </p:spPr>
      </p:pic>
      <p:sp>
        <p:nvSpPr>
          <p:cNvPr id="10" name="文本框 9"/>
          <p:cNvSpPr txBox="1"/>
          <p:nvPr/>
        </p:nvSpPr>
        <p:spPr>
          <a:xfrm>
            <a:off x="1027430" y="2910840"/>
            <a:ext cx="198374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解压缩Redis 压缩包</a:t>
            </a: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57885" y="3238500"/>
            <a:ext cx="2590800" cy="200025"/>
          </a:xfrm>
          <a:prstGeom prst="rect">
            <a:avLst/>
          </a:prstGeom>
        </p:spPr>
      </p:pic>
      <p:sp>
        <p:nvSpPr>
          <p:cNvPr id="12" name="文本框 11"/>
          <p:cNvSpPr txBox="1"/>
          <p:nvPr/>
        </p:nvSpPr>
        <p:spPr>
          <a:xfrm>
            <a:off x="1031240" y="3448050"/>
            <a:ext cx="181737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进入解压后的目录</a:t>
            </a:r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57885" y="3775710"/>
            <a:ext cx="1752600" cy="190500"/>
          </a:xfrm>
          <a:prstGeom prst="rect">
            <a:avLst/>
          </a:prstGeom>
        </p:spPr>
      </p:pic>
      <p:sp>
        <p:nvSpPr>
          <p:cNvPr id="14" name="文本框 13"/>
          <p:cNvSpPr txBox="1"/>
          <p:nvPr/>
        </p:nvSpPr>
        <p:spPr>
          <a:xfrm>
            <a:off x="1009015" y="3975735"/>
            <a:ext cx="311213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使用make命令编译Redis源文件。</a:t>
            </a:r>
          </a:p>
        </p:txBody>
      </p:sp>
      <p:pic>
        <p:nvPicPr>
          <p:cNvPr id="15" name="图片 1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57885" y="4303395"/>
            <a:ext cx="971550" cy="190500"/>
          </a:xfrm>
          <a:prstGeom prst="rect">
            <a:avLst/>
          </a:prstGeom>
        </p:spPr>
      </p:pic>
      <p:sp>
        <p:nvSpPr>
          <p:cNvPr id="16" name="文本框 15"/>
          <p:cNvSpPr txBox="1"/>
          <p:nvPr/>
        </p:nvSpPr>
        <p:spPr>
          <a:xfrm>
            <a:off x="972820" y="4503420"/>
            <a:ext cx="236029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编译成功后，安装Redis</a:t>
            </a:r>
          </a:p>
        </p:txBody>
      </p:sp>
      <p:pic>
        <p:nvPicPr>
          <p:cNvPr id="17" name="图片 1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57885" y="4840605"/>
            <a:ext cx="3228975" cy="200025"/>
          </a:xfrm>
          <a:prstGeom prst="rect">
            <a:avLst/>
          </a:prstGeom>
        </p:spPr>
      </p:pic>
      <p:sp>
        <p:nvSpPr>
          <p:cNvPr id="18" name="文本框 17"/>
          <p:cNvSpPr txBox="1"/>
          <p:nvPr/>
        </p:nvSpPr>
        <p:spPr>
          <a:xfrm>
            <a:off x="972820" y="5040630"/>
            <a:ext cx="5140960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安装成功后，需要对Redis 进行部署，把Redis 的配置文件 redis.conf拷贝到 “/usr/local/redis/conf”目录下</a:t>
            </a:r>
          </a:p>
        </p:txBody>
      </p:sp>
      <p:pic>
        <p:nvPicPr>
          <p:cNvPr id="19" name="图片 18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05510" y="5577840"/>
            <a:ext cx="3133725" cy="361950"/>
          </a:xfrm>
          <a:prstGeom prst="rect">
            <a:avLst/>
          </a:prstGeom>
        </p:spPr>
      </p:pic>
      <p:sp>
        <p:nvSpPr>
          <p:cNvPr id="21" name="文本框 20"/>
          <p:cNvSpPr txBox="1"/>
          <p:nvPr/>
        </p:nvSpPr>
        <p:spPr>
          <a:xfrm>
            <a:off x="6197600" y="1499235"/>
            <a:ext cx="5517515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3，配置Redis的命令</a:t>
            </a:r>
          </a:p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最后需要将Redis的命令所在目录添加到系统参数PATH中,修改/etc/profile文件。</a:t>
            </a:r>
          </a:p>
        </p:txBody>
      </p:sp>
      <p:pic>
        <p:nvPicPr>
          <p:cNvPr id="22" name="图片 21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301105" y="2329180"/>
            <a:ext cx="1933575" cy="171450"/>
          </a:xfrm>
          <a:prstGeom prst="rect">
            <a:avLst/>
          </a:prstGeom>
        </p:spPr>
      </p:pic>
      <p:sp>
        <p:nvSpPr>
          <p:cNvPr id="23" name="文本框 22"/>
          <p:cNvSpPr txBox="1"/>
          <p:nvPr/>
        </p:nvSpPr>
        <p:spPr>
          <a:xfrm>
            <a:off x="6301105" y="2500630"/>
            <a:ext cx="389064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在 /etc/profile文件最后一行添加以下内容</a:t>
            </a:r>
          </a:p>
        </p:txBody>
      </p:sp>
      <p:pic>
        <p:nvPicPr>
          <p:cNvPr id="24" name="图片 23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301105" y="2837815"/>
            <a:ext cx="3257550" cy="190500"/>
          </a:xfrm>
          <a:prstGeom prst="rect">
            <a:avLst/>
          </a:prstGeom>
        </p:spPr>
      </p:pic>
      <p:sp>
        <p:nvSpPr>
          <p:cNvPr id="25" name="文本框 24"/>
          <p:cNvSpPr txBox="1"/>
          <p:nvPr/>
        </p:nvSpPr>
        <p:spPr>
          <a:xfrm>
            <a:off x="6301105" y="3028315"/>
            <a:ext cx="493141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然后使用source 命令使/etc/profile这个文件立即生效</a:t>
            </a:r>
          </a:p>
        </p:txBody>
      </p:sp>
      <p:pic>
        <p:nvPicPr>
          <p:cNvPr id="26" name="图片 25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301105" y="3365500"/>
            <a:ext cx="1981200" cy="200025"/>
          </a:xfrm>
          <a:prstGeom prst="rect">
            <a:avLst/>
          </a:prstGeom>
        </p:spPr>
      </p:pic>
      <p:sp>
        <p:nvSpPr>
          <p:cNvPr id="27" name="文本框 26"/>
          <p:cNvSpPr txBox="1"/>
          <p:nvPr/>
        </p:nvSpPr>
        <p:spPr>
          <a:xfrm>
            <a:off x="6301105" y="3565525"/>
            <a:ext cx="439801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至此，Redis 在Linux上的安装和配置就结束了。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79031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6.3Redis Cluster集群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669925" y="1038860"/>
            <a:ext cx="3131185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2 开始Redis集群搭建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732155" y="1499235"/>
            <a:ext cx="4695190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第</a:t>
            </a:r>
            <a:r>
              <a:rPr lang="zh-CN" altLang="en-US" sz="1600">
                <a:sym typeface="+mn-ea"/>
              </a:rPr>
              <a:t>二</a:t>
            </a:r>
            <a:r>
              <a:rPr lang="en-US" sz="1600">
                <a:sym typeface="+mn-ea"/>
              </a:rPr>
              <a:t>步：在 /usr/local下创建文件夹redis-cluster，然后在其下面创建6个文件夹如下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6455" y="2082800"/>
            <a:ext cx="3028950" cy="514350"/>
          </a:xfrm>
          <a:prstGeom prst="rect">
            <a:avLst/>
          </a:prstGeom>
        </p:spPr>
      </p:pic>
      <p:sp>
        <p:nvSpPr>
          <p:cNvPr id="3" name="文本框 2"/>
          <p:cNvSpPr txBox="1"/>
          <p:nvPr/>
        </p:nvSpPr>
        <p:spPr>
          <a:xfrm>
            <a:off x="732155" y="2689860"/>
            <a:ext cx="4415155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第三步：把之前的redis.conf配置文件拷贝到8001目录下。</a:t>
            </a: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6455" y="3273425"/>
            <a:ext cx="4895850" cy="180975"/>
          </a:xfrm>
          <a:prstGeom prst="rect">
            <a:avLst/>
          </a:prstGeom>
        </p:spPr>
      </p:pic>
      <p:sp>
        <p:nvSpPr>
          <p:cNvPr id="28" name="文本框 27"/>
          <p:cNvSpPr txBox="1"/>
          <p:nvPr/>
        </p:nvSpPr>
        <p:spPr>
          <a:xfrm>
            <a:off x="846455" y="3512820"/>
            <a:ext cx="290322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使用vi命令redis.conf配置文件</a:t>
            </a:r>
          </a:p>
        </p:txBody>
      </p:sp>
      <p:pic>
        <p:nvPicPr>
          <p:cNvPr id="29" name="图片 2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46455" y="3850005"/>
            <a:ext cx="3581400" cy="171450"/>
          </a:xfrm>
          <a:prstGeom prst="rect">
            <a:avLst/>
          </a:prstGeom>
        </p:spPr>
      </p:pic>
      <p:sp>
        <p:nvSpPr>
          <p:cNvPr id="30" name="文本框 29"/>
          <p:cNvSpPr txBox="1"/>
          <p:nvPr/>
        </p:nvSpPr>
        <p:spPr>
          <a:xfrm>
            <a:off x="5918835" y="1085215"/>
            <a:ext cx="5805170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修改redis.conf配置文件中以下的配置项，redis.conf配置文件可以参考本书的配套代码”Redis\Chapter06\Redis6 集群参考配置文件\redis-cluster\8001\redis.conf”。</a:t>
            </a:r>
          </a:p>
        </p:txBody>
      </p:sp>
      <p:sp>
        <p:nvSpPr>
          <p:cNvPr id="31" name="文本框 30"/>
          <p:cNvSpPr txBox="1"/>
          <p:nvPr/>
        </p:nvSpPr>
        <p:spPr>
          <a:xfrm>
            <a:off x="6014085" y="1939290"/>
            <a:ext cx="5709920" cy="39998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200" b="1">
                <a:solidFill>
                  <a:schemeClr val="accent3">
                    <a:lumMod val="50000"/>
                    <a:lumOff val="50000"/>
                  </a:schemeClr>
                </a:solidFill>
                <a:sym typeface="+mn-ea"/>
              </a:rPr>
              <a:t>1) </a:t>
            </a:r>
            <a:r>
              <a:rPr lang="en-US" sz="1200">
                <a:sym typeface="+mn-ea"/>
              </a:rPr>
              <a:t>daemonize  yes  开启Redis的守护进程，开启Redis的守护进程后，Redis会在后台直运行，除非手动输入kill命令结束进程</a:t>
            </a:r>
          </a:p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200" b="1">
                <a:solidFill>
                  <a:schemeClr val="accent3">
                    <a:lumMod val="50000"/>
                    <a:lumOff val="50000"/>
                  </a:schemeClr>
                </a:solidFill>
                <a:sym typeface="+mn-ea"/>
              </a:rPr>
              <a:t>2) </a:t>
            </a:r>
            <a:r>
              <a:rPr lang="en-US" sz="1200">
                <a:sym typeface="+mn-ea"/>
              </a:rPr>
              <a:t>port  8001 分别对每个节点机器的端口号进行设置</a:t>
            </a:r>
          </a:p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200" b="1">
                <a:solidFill>
                  <a:schemeClr val="accent3">
                    <a:lumMod val="50000"/>
                    <a:lumOff val="50000"/>
                  </a:schemeClr>
                </a:solidFill>
                <a:sym typeface="+mn-ea"/>
              </a:rPr>
              <a:t>3) </a:t>
            </a:r>
            <a:r>
              <a:rPr lang="en-US" sz="1200">
                <a:sym typeface="+mn-ea"/>
              </a:rPr>
              <a:t>dir  /usr/local/redis-cluster/8001/ 设定数据文件存放位置，必须要指定不同的目录位置，不然会丢失数据</a:t>
            </a:r>
          </a:p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200" b="1">
                <a:solidFill>
                  <a:schemeClr val="accent3">
                    <a:lumMod val="50000"/>
                    <a:lumOff val="50000"/>
                  </a:schemeClr>
                </a:solidFill>
                <a:sym typeface="+mn-ea"/>
              </a:rPr>
              <a:t>4) </a:t>
            </a:r>
            <a:r>
              <a:rPr lang="en-US" sz="1200">
                <a:sym typeface="+mn-ea"/>
              </a:rPr>
              <a:t>cluster-enabled  yes 启动集群模式</a:t>
            </a:r>
          </a:p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200" b="1">
                <a:solidFill>
                  <a:schemeClr val="accent3">
                    <a:lumMod val="50000"/>
                    <a:lumOff val="50000"/>
                  </a:schemeClr>
                </a:solidFill>
                <a:sym typeface="+mn-ea"/>
              </a:rPr>
              <a:t>5) </a:t>
            </a:r>
            <a:r>
              <a:rPr lang="en-US" sz="1200">
                <a:sym typeface="+mn-ea"/>
              </a:rPr>
              <a:t>cluster-config-file  nodes-8001.conf  集群节点信息文件，这里nodes-8001.conf最好和port对应上</a:t>
            </a:r>
          </a:p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200" b="1">
                <a:solidFill>
                  <a:schemeClr val="accent3">
                    <a:lumMod val="50000"/>
                    <a:lumOff val="50000"/>
                  </a:schemeClr>
                </a:solidFill>
                <a:sym typeface="+mn-ea"/>
              </a:rPr>
              <a:t>6) </a:t>
            </a:r>
            <a:r>
              <a:rPr lang="en-US" sz="1200">
                <a:sym typeface="+mn-ea"/>
              </a:rPr>
              <a:t>cluster-node-timeout  5000  集群节点的超时时限，单位为豪秒</a:t>
            </a:r>
          </a:p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200" b="1">
                <a:solidFill>
                  <a:schemeClr val="accent3">
                    <a:lumMod val="50000"/>
                    <a:lumOff val="50000"/>
                  </a:schemeClr>
                </a:solidFill>
                <a:sym typeface="+mn-ea"/>
              </a:rPr>
              <a:t>7) </a:t>
            </a:r>
            <a:r>
              <a:rPr lang="en-US" sz="1200">
                <a:sym typeface="+mn-ea"/>
              </a:rPr>
              <a:t>bind  192.168.11.15 修改为主机的IP，默认ip为127.0.0.1 ，需要改为其它节点机器可访问的ip，否则创建集群时无法访问对应机器的端口，无法创建集群</a:t>
            </a:r>
          </a:p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200" b="1">
                <a:solidFill>
                  <a:schemeClr val="accent3">
                    <a:lumMod val="50000"/>
                    <a:lumOff val="50000"/>
                  </a:schemeClr>
                </a:solidFill>
                <a:sym typeface="+mn-ea"/>
              </a:rPr>
              <a:t>8) </a:t>
            </a:r>
            <a:r>
              <a:rPr lang="en-US" sz="1200">
                <a:sym typeface="+mn-ea"/>
              </a:rPr>
              <a:t>protected-mode  no  关闭保护模式</a:t>
            </a:r>
          </a:p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200" b="1">
                <a:solidFill>
                  <a:schemeClr val="accent3">
                    <a:lumMod val="50000"/>
                    <a:lumOff val="50000"/>
                  </a:schemeClr>
                </a:solidFill>
                <a:sym typeface="+mn-ea"/>
              </a:rPr>
              <a:t>9)</a:t>
            </a:r>
            <a:r>
              <a:rPr lang="en-US" sz="1200">
                <a:sym typeface="+mn-ea"/>
              </a:rPr>
              <a:t> appendonly  yes 开启AOF持久化 如果要设置密码需要增加如下配置：</a:t>
            </a:r>
          </a:p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200" b="1">
                <a:solidFill>
                  <a:schemeClr val="accent3">
                    <a:lumMod val="50000"/>
                    <a:lumOff val="50000"/>
                  </a:schemeClr>
                </a:solidFill>
                <a:sym typeface="+mn-ea"/>
              </a:rPr>
              <a:t>10)</a:t>
            </a:r>
            <a:r>
              <a:rPr lang="en-US" sz="1200">
                <a:sym typeface="+mn-ea"/>
              </a:rPr>
              <a:t> requirepass  xxx 设置Redis的访问密码（使用xxx代替密码，读者根据实际情况自行设置）</a:t>
            </a:r>
          </a:p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200" b="1">
                <a:solidFill>
                  <a:schemeClr val="accent3">
                    <a:lumMod val="50000"/>
                    <a:lumOff val="50000"/>
                  </a:schemeClr>
                </a:solidFill>
                <a:sym typeface="+mn-ea"/>
              </a:rPr>
              <a:t>11) </a:t>
            </a:r>
            <a:r>
              <a:rPr lang="en-US" sz="1200">
                <a:sym typeface="+mn-ea"/>
              </a:rPr>
              <a:t>masterauth  xxx  设置集群节点间的访问密码（使用xxx代替密码，读者根据实际情况自行设置），跟第10项设置的密码一致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79031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6.3Redis Cluster集群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669925" y="1038860"/>
            <a:ext cx="3131185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2 开始Redis集群搭建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732155" y="1499235"/>
            <a:ext cx="4695190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第</a:t>
            </a:r>
            <a:r>
              <a:rPr lang="zh-CN" altLang="en-US" sz="1600">
                <a:sym typeface="+mn-ea"/>
              </a:rPr>
              <a:t>四</a:t>
            </a:r>
            <a:r>
              <a:rPr lang="en-US" sz="1600">
                <a:sym typeface="+mn-ea"/>
              </a:rPr>
              <a:t>步：把修改后的redis.conf配置文件，复制到8002，8003,8004,8005和8006，修改第2、3、5项里的端口号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732155" y="2329180"/>
            <a:ext cx="4695825" cy="15684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    第三步完成了一个Redis节点的配置了，其实接下来就是机械化的再完成另外五个节点，其实可以这么做：把 8001 实例的redis.conf复制到另外五个文件夹中，唯一要修改的就是 redis.conf 中所有和端口相关的信息即可，其实就是port, dir和cluster-config-file选项的端口信息。</a:t>
            </a: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3115" y="3897630"/>
            <a:ext cx="3667125" cy="1076325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6061075" y="1499235"/>
            <a:ext cx="5251450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第五步：分别启动6个Redis节点，然后检查Redis节点是否启动成功。</a:t>
            </a: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62675" y="2082800"/>
            <a:ext cx="4438650" cy="1076325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6061075" y="3159125"/>
            <a:ext cx="448945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执行启动Redis节点命令的返回结果如下图所示</a:t>
            </a:r>
          </a:p>
        </p:txBody>
      </p:sp>
      <p:pic>
        <p:nvPicPr>
          <p:cNvPr id="159" name="图片 15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62675" y="3496310"/>
            <a:ext cx="5554345" cy="187579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79031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6.3Redis Cluster集群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669925" y="1038860"/>
            <a:ext cx="3131185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2 开始Redis集群搭建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732155" y="1499235"/>
            <a:ext cx="5171440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使用命令ps -ef | grep redis，查看Redis节点是否启动成功，可以看出6个Redis节点已经全部启动成功了。</a:t>
            </a:r>
          </a:p>
        </p:txBody>
      </p:sp>
      <p:pic>
        <p:nvPicPr>
          <p:cNvPr id="164" name="图片 16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2155" y="2082800"/>
            <a:ext cx="5274310" cy="770890"/>
          </a:xfrm>
          <a:prstGeom prst="rect">
            <a:avLst/>
          </a:prstGeom>
        </p:spPr>
      </p:pic>
      <p:sp>
        <p:nvSpPr>
          <p:cNvPr id="8" name="文本框 7"/>
          <p:cNvSpPr txBox="1"/>
          <p:nvPr/>
        </p:nvSpPr>
        <p:spPr>
          <a:xfrm>
            <a:off x="732155" y="2981325"/>
            <a:ext cx="5356225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使用一个个命令启动Redis节点比较麻烦，我们可以使用脚本的方式启动Redis节点，使用以下命令创建Redis集群启动脚本（startRedisCluster.sh）。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2155" y="3811270"/>
            <a:ext cx="2695575" cy="371475"/>
          </a:xfrm>
          <a:prstGeom prst="rect">
            <a:avLst/>
          </a:prstGeom>
        </p:spPr>
      </p:pic>
      <p:sp>
        <p:nvSpPr>
          <p:cNvPr id="10" name="文本框 9"/>
          <p:cNvSpPr txBox="1"/>
          <p:nvPr/>
        </p:nvSpPr>
        <p:spPr>
          <a:xfrm>
            <a:off x="669925" y="4182745"/>
            <a:ext cx="5417820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使用vi startRedisCluster.sh命令修改startRedisCluster.sh脚本，添加以下内容</a:t>
            </a: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2155" y="4766310"/>
            <a:ext cx="4248150" cy="1066800"/>
          </a:xfrm>
          <a:prstGeom prst="rect">
            <a:avLst/>
          </a:prstGeom>
        </p:spPr>
      </p:pic>
      <p:sp>
        <p:nvSpPr>
          <p:cNvPr id="12" name="文本框 11"/>
          <p:cNvSpPr txBox="1"/>
          <p:nvPr/>
        </p:nvSpPr>
        <p:spPr>
          <a:xfrm>
            <a:off x="669925" y="5833110"/>
            <a:ext cx="253682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使用以下命令启动脚本</a:t>
            </a:r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32155" y="6191885"/>
            <a:ext cx="2228850" cy="180975"/>
          </a:xfrm>
          <a:prstGeom prst="rect">
            <a:avLst/>
          </a:prstGeom>
        </p:spPr>
      </p:pic>
      <p:sp>
        <p:nvSpPr>
          <p:cNvPr id="14" name="文本框 13"/>
          <p:cNvSpPr txBox="1"/>
          <p:nvPr/>
        </p:nvSpPr>
        <p:spPr>
          <a:xfrm>
            <a:off x="6423025" y="1162050"/>
            <a:ext cx="394716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第六步：用redis-cli创建整个Redis集群</a:t>
            </a:r>
          </a:p>
        </p:txBody>
      </p:sp>
      <p:pic>
        <p:nvPicPr>
          <p:cNvPr id="15" name="图片 1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96050" y="1499235"/>
            <a:ext cx="5219700" cy="533400"/>
          </a:xfrm>
          <a:prstGeom prst="rect">
            <a:avLst/>
          </a:prstGeom>
        </p:spPr>
      </p:pic>
      <p:sp>
        <p:nvSpPr>
          <p:cNvPr id="16" name="文本框 15"/>
          <p:cNvSpPr txBox="1"/>
          <p:nvPr/>
        </p:nvSpPr>
        <p:spPr>
          <a:xfrm>
            <a:off x="6423025" y="2073910"/>
            <a:ext cx="5292725" cy="1076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使用redis-cli命令创建Redis集群使用的参数--cluster-replicas表示主节点和从节点的比例，当参数--cluster-replicas为1时，表示创建Redis集群时一个Master（主节点）需要有一个Slave（从节点）。</a:t>
            </a:r>
          </a:p>
        </p:txBody>
      </p:sp>
      <p:pic>
        <p:nvPicPr>
          <p:cNvPr id="37" name="图片 3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423025" y="3339783"/>
            <a:ext cx="5274310" cy="1569085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79031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6.3Redis Cluster集群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669925" y="1038860"/>
            <a:ext cx="3131185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2 开始Redis集群搭建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746125" y="1499235"/>
            <a:ext cx="533717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按照提示（Can I set the above configuration?）输入yes</a:t>
            </a: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71220" y="1836420"/>
            <a:ext cx="4778375" cy="4850765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6194425" y="1499235"/>
            <a:ext cx="5346065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以上是创建Redis的集群信息，表示每创建一个Redis主节点就创建一个Redis从节点，可以转换为以下的表格形式。</a:t>
            </a:r>
          </a:p>
        </p:txBody>
      </p:sp>
      <p:graphicFrame>
        <p:nvGraphicFramePr>
          <p:cNvPr id="6" name="表格 5"/>
          <p:cNvGraphicFramePr/>
          <p:nvPr>
            <p:custDataLst>
              <p:tags r:id="rId2"/>
            </p:custDataLst>
          </p:nvPr>
        </p:nvGraphicFramePr>
        <p:xfrm>
          <a:off x="6194108" y="2171700"/>
          <a:ext cx="0" cy="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27063"/>
                <a:gridCol w="630237"/>
                <a:gridCol w="3079750"/>
                <a:gridCol w="930275"/>
              </a:tblGrid>
              <a:tr h="0"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0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端口号</a:t>
                      </a:r>
                      <a:endParaRPr lang="en-US" altLang="en-US" sz="10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0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角色</a:t>
                      </a:r>
                      <a:endParaRPr lang="en-US" altLang="en-US" sz="10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0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节点ID</a:t>
                      </a:r>
                      <a:endParaRPr lang="en-US" altLang="en-US" sz="10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0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插槽范围(</a:t>
                      </a:r>
                      <a:r>
                        <a:rPr lang="en-US" sz="1000" b="0">
                          <a:latin typeface="Calibri" panose="020F0502020204030204" charset="0"/>
                          <a:cs typeface="Calibri" panose="020F0502020204030204" charset="0"/>
                        </a:rPr>
                        <a:t>Slots)</a:t>
                      </a:r>
                      <a:endParaRPr lang="en-US" altLang="en-US" sz="10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8</a:t>
                      </a:r>
                      <a:r>
                        <a:rPr lang="en-US" sz="1000" b="0">
                          <a:latin typeface="Calibri" panose="020F0502020204030204" charset="0"/>
                          <a:cs typeface="Calibri" panose="020F0502020204030204" charset="0"/>
                        </a:rPr>
                        <a:t>001</a:t>
                      </a:r>
                      <a:endParaRPr lang="en-US" altLang="en-US" sz="10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Master</a:t>
                      </a:r>
                      <a:endParaRPr lang="en-US" altLang="en-US" sz="10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panose="020F0502020204030204" charset="0"/>
                          <a:cs typeface="Calibri" panose="020F0502020204030204" charset="0"/>
                        </a:rPr>
                        <a:t>fb8600a4f020daeebd85a64369a9aa04b38a7d39</a:t>
                      </a:r>
                      <a:endParaRPr lang="en-US" altLang="en-US" sz="10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panose="020F0502020204030204" charset="0"/>
                          <a:cs typeface="Calibri" panose="020F0502020204030204" charset="0"/>
                        </a:rPr>
                        <a:t>0-5460</a:t>
                      </a:r>
                      <a:endParaRPr lang="en-US" altLang="en-US" sz="10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panose="020F0502020204030204" charset="0"/>
                          <a:cs typeface="Calibri" panose="020F0502020204030204" charset="0"/>
                        </a:rPr>
                        <a:t>8004</a:t>
                      </a:r>
                      <a:endParaRPr lang="en-US" altLang="en-US" sz="10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panose="020F0502020204030204" charset="0"/>
                          <a:cs typeface="Calibri" panose="020F0502020204030204" charset="0"/>
                        </a:rPr>
                        <a:t>Slave</a:t>
                      </a:r>
                      <a:endParaRPr lang="en-US" altLang="en-US" sz="10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panose="020F0502020204030204" charset="0"/>
                          <a:cs typeface="Calibri" panose="020F0502020204030204" charset="0"/>
                        </a:rPr>
                        <a:t>3d9d3cf8c6fcd7e8adc08095df9b12de7843807e</a:t>
                      </a:r>
                      <a:endParaRPr lang="en-US" altLang="en-US" sz="10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panose="020F0502020204030204" charset="0"/>
                          <a:cs typeface="Calibri" panose="020F0502020204030204" charset="0"/>
                        </a:rPr>
                        <a:t>0</a:t>
                      </a:r>
                      <a:endParaRPr lang="en-US" altLang="en-US" sz="10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panose="020F0502020204030204" charset="0"/>
                          <a:cs typeface="Calibri" panose="020F0502020204030204" charset="0"/>
                        </a:rPr>
                        <a:t>8002</a:t>
                      </a:r>
                      <a:endParaRPr lang="en-US" altLang="en-US" sz="10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panose="020F0502020204030204" charset="0"/>
                          <a:cs typeface="Calibri" panose="020F0502020204030204" charset="0"/>
                        </a:rPr>
                        <a:t>M</a:t>
                      </a:r>
                      <a:r>
                        <a:rPr lang="en-US" sz="10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aster</a:t>
                      </a:r>
                      <a:endParaRPr lang="en-US" altLang="en-US" sz="10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panose="020F0502020204030204" charset="0"/>
                          <a:cs typeface="Calibri" panose="020F0502020204030204" charset="0"/>
                        </a:rPr>
                        <a:t>12904463a6c7caa958085e008ad0324213883811</a:t>
                      </a:r>
                      <a:endParaRPr lang="en-US" altLang="en-US" sz="10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panose="020F0502020204030204" charset="0"/>
                          <a:cs typeface="Calibri" panose="020F0502020204030204" charset="0"/>
                        </a:rPr>
                        <a:t>5461-10922</a:t>
                      </a:r>
                      <a:endParaRPr lang="en-US" altLang="en-US" sz="10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panose="020F0502020204030204" charset="0"/>
                          <a:cs typeface="Calibri" panose="020F0502020204030204" charset="0"/>
                        </a:rPr>
                        <a:t>8005</a:t>
                      </a:r>
                      <a:endParaRPr lang="en-US" altLang="en-US" sz="10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panose="020F0502020204030204" charset="0"/>
                          <a:cs typeface="Calibri" panose="020F0502020204030204" charset="0"/>
                        </a:rPr>
                        <a:t>Slave</a:t>
                      </a:r>
                      <a:endParaRPr lang="en-US" altLang="en-US" sz="10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panose="020F0502020204030204" charset="0"/>
                          <a:cs typeface="Calibri" panose="020F0502020204030204" charset="0"/>
                        </a:rPr>
                        <a:t>7bc9b1dbd1c4508828dbcb10828e20063c934c9a</a:t>
                      </a:r>
                      <a:endParaRPr lang="en-US" altLang="en-US" sz="10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panose="020F0502020204030204" charset="0"/>
                          <a:cs typeface="Calibri" panose="020F0502020204030204" charset="0"/>
                        </a:rPr>
                        <a:t>0</a:t>
                      </a:r>
                      <a:endParaRPr lang="en-US" altLang="en-US" sz="10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panose="020F0502020204030204" charset="0"/>
                          <a:cs typeface="Calibri" panose="020F0502020204030204" charset="0"/>
                        </a:rPr>
                        <a:t>8003</a:t>
                      </a:r>
                      <a:endParaRPr lang="en-US" altLang="en-US" sz="10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panose="020F0502020204030204" charset="0"/>
                          <a:cs typeface="Calibri" panose="020F0502020204030204" charset="0"/>
                        </a:rPr>
                        <a:t>M</a:t>
                      </a:r>
                      <a:r>
                        <a:rPr lang="en-US" sz="10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aster</a:t>
                      </a:r>
                      <a:endParaRPr lang="en-US" altLang="en-US" sz="10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panose="020F0502020204030204" charset="0"/>
                          <a:cs typeface="Calibri" panose="020F0502020204030204" charset="0"/>
                        </a:rPr>
                        <a:t>1c58e8b6ae18751ad98858aa9d7ea2c710d1511c</a:t>
                      </a:r>
                      <a:endParaRPr lang="en-US" altLang="en-US" sz="10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panose="020F0502020204030204" charset="0"/>
                          <a:cs typeface="Calibri" panose="020F0502020204030204" charset="0"/>
                        </a:rPr>
                        <a:t>10923-16383</a:t>
                      </a:r>
                      <a:endParaRPr lang="en-US" altLang="en-US" sz="10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panose="020F0502020204030204" charset="0"/>
                          <a:cs typeface="Calibri" panose="020F0502020204030204" charset="0"/>
                        </a:rPr>
                        <a:t>8006</a:t>
                      </a:r>
                      <a:endParaRPr lang="en-US" altLang="en-US" sz="10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panose="020F0502020204030204" charset="0"/>
                          <a:cs typeface="Calibri" panose="020F0502020204030204" charset="0"/>
                        </a:rPr>
                        <a:t>Slave</a:t>
                      </a:r>
                      <a:endParaRPr lang="en-US" altLang="en-US" sz="10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panose="020F0502020204030204" charset="0"/>
                          <a:cs typeface="Calibri" panose="020F0502020204030204" charset="0"/>
                        </a:rPr>
                        <a:t>0d8799e882b249fc6bfd655ffcb5a4f89f81efe0</a:t>
                      </a:r>
                      <a:endParaRPr lang="en-US" altLang="en-US" sz="10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panose="020F0502020204030204" charset="0"/>
                          <a:cs typeface="Calibri" panose="020F0502020204030204" charset="0"/>
                        </a:rPr>
                        <a:t>0</a:t>
                      </a:r>
                      <a:endParaRPr lang="en-US" altLang="en-US" sz="10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文本框 6"/>
          <p:cNvSpPr txBox="1"/>
          <p:nvPr/>
        </p:nvSpPr>
        <p:spPr>
          <a:xfrm>
            <a:off x="6194425" y="3479800"/>
            <a:ext cx="5441315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Redis集群的主从节点如下图所示，表示Redis集群有三个主节点(Master)和三个从节点(Slave)，一个主节点对应一个从节点，形成一对一的对应关系，如图所示</a:t>
            </a:r>
          </a:p>
        </p:txBody>
      </p:sp>
      <p:pic>
        <p:nvPicPr>
          <p:cNvPr id="40" name="图片 4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03975" y="4398645"/>
            <a:ext cx="5021580" cy="218694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79031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6.3Redis Cluster集群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669925" y="1038860"/>
            <a:ext cx="3131185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2 开始Redis集群搭建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746125" y="1499235"/>
            <a:ext cx="246062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第七步：验证Redis集群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850900" y="1836420"/>
            <a:ext cx="547941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1) 使用redis-cli命令连接Redis集群的节点，使用命令如下。</a:t>
            </a: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6945" y="2173605"/>
            <a:ext cx="3762375" cy="200025"/>
          </a:xfrm>
          <a:prstGeom prst="rect">
            <a:avLst/>
          </a:prstGeom>
        </p:spPr>
      </p:pic>
      <p:sp>
        <p:nvSpPr>
          <p:cNvPr id="9" name="文本框 8"/>
          <p:cNvSpPr txBox="1"/>
          <p:nvPr/>
        </p:nvSpPr>
        <p:spPr>
          <a:xfrm>
            <a:off x="956945" y="2373630"/>
            <a:ext cx="5373370" cy="13220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redis-cli 的命令参数 -a表示访问Redis服务端密码，-c表示Redis集群模式，连接Redis集群时需要加上参数-c。-h表示Redis集群节点的IP地址，-p表示集群节点的端口号。如果Redis集群没有设置密码可以省略-a参数。</a:t>
            </a:r>
          </a:p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可以使用以下任何一条命令连接Redis集群中的一个节点。</a:t>
            </a:r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0765" y="3695700"/>
            <a:ext cx="3419475" cy="1076325"/>
          </a:xfrm>
          <a:prstGeom prst="rect">
            <a:avLst/>
          </a:prstGeom>
        </p:spPr>
      </p:pic>
      <p:sp>
        <p:nvSpPr>
          <p:cNvPr id="11" name="文本框 10"/>
          <p:cNvSpPr txBox="1"/>
          <p:nvPr/>
        </p:nvSpPr>
        <p:spPr>
          <a:xfrm>
            <a:off x="956945" y="4772025"/>
            <a:ext cx="563054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使用命令</a:t>
            </a:r>
            <a:r>
              <a:rPr sz="1600">
                <a:solidFill>
                  <a:srgbClr val="0000FF"/>
                </a:solidFill>
                <a:sym typeface="+mn-ea"/>
              </a:rPr>
              <a:t>redis-cli -c -h 192.168.11.11 -p 8001</a:t>
            </a:r>
            <a:r>
              <a:rPr sz="1600">
                <a:sym typeface="+mn-ea"/>
              </a:rPr>
              <a:t>访问Redis集群。</a:t>
            </a: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40765" y="5109210"/>
            <a:ext cx="4695825" cy="1066800"/>
          </a:xfrm>
          <a:prstGeom prst="rect">
            <a:avLst/>
          </a:prstGeom>
        </p:spPr>
      </p:pic>
      <p:sp>
        <p:nvSpPr>
          <p:cNvPr id="13" name="文本框 12"/>
          <p:cNvSpPr txBox="1"/>
          <p:nvPr/>
        </p:nvSpPr>
        <p:spPr>
          <a:xfrm>
            <a:off x="956945" y="6185535"/>
            <a:ext cx="5629910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使用SET命令后进入到端口为8002的Redis节点了，进行了跳转重定向(redirected)</a:t>
            </a:r>
          </a:p>
        </p:txBody>
      </p:sp>
      <p:sp>
        <p:nvSpPr>
          <p:cNvPr id="14" name="文本框 13"/>
          <p:cNvSpPr txBox="1"/>
          <p:nvPr/>
        </p:nvSpPr>
        <p:spPr>
          <a:xfrm>
            <a:off x="6777990" y="1836420"/>
            <a:ext cx="264223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2</a:t>
            </a:r>
            <a:r>
              <a:rPr sz="1600">
                <a:sym typeface="+mn-ea"/>
              </a:rPr>
              <a:t>) 测试Redis集群是否正常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7054215" y="2173605"/>
            <a:ext cx="4574540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使用cluster info命令查看Redis集群信息，返回值cluster_known_nodes:6表示当前Redis集群中共有6个Redis节点。</a:t>
            </a:r>
          </a:p>
        </p:txBody>
      </p:sp>
      <p:pic>
        <p:nvPicPr>
          <p:cNvPr id="16" name="图片 1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139940" y="3003550"/>
            <a:ext cx="3381375" cy="300990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79031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6.3Redis Cluster集群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669925" y="1038860"/>
            <a:ext cx="3131185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2 开始Redis集群搭建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889000" y="1499235"/>
            <a:ext cx="5479415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使用cluster nodes命令查看Redis集群节点列表，可以看出整个Redis集群含有3个Master和3个Slave</a:t>
            </a: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9965" y="2082800"/>
            <a:ext cx="5276850" cy="2314575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779780" y="4397375"/>
            <a:ext cx="5698490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至此，Redis集群环境搭建完毕。</a:t>
            </a:r>
          </a:p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使用redis-cli命令关闭Redis集群的节点(192.168.11.15:8001)，使用命令如下</a:t>
            </a: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89965" y="5314950"/>
            <a:ext cx="4352925" cy="171450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6478270" y="1142365"/>
            <a:ext cx="486219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在本例中可以使用以下命令关闭六个Redis集群节点</a:t>
            </a:r>
          </a:p>
        </p:txBody>
      </p:sp>
      <p:pic>
        <p:nvPicPr>
          <p:cNvPr id="17" name="图片 1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81775" y="1479550"/>
            <a:ext cx="3943350" cy="1076325"/>
          </a:xfrm>
          <a:prstGeom prst="rect">
            <a:avLst/>
          </a:prstGeom>
        </p:spPr>
      </p:pic>
      <p:sp>
        <p:nvSpPr>
          <p:cNvPr id="18" name="文本框 17"/>
          <p:cNvSpPr txBox="1"/>
          <p:nvPr/>
        </p:nvSpPr>
        <p:spPr>
          <a:xfrm>
            <a:off x="6478270" y="2555875"/>
            <a:ext cx="4956810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在此做一个实验，使用以下命令停止端口为8001的Redis集群节点</a:t>
            </a:r>
          </a:p>
        </p:txBody>
      </p:sp>
      <p:pic>
        <p:nvPicPr>
          <p:cNvPr id="19" name="图片 1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81775" y="3139440"/>
            <a:ext cx="3876675" cy="190500"/>
          </a:xfrm>
          <a:prstGeom prst="rect">
            <a:avLst/>
          </a:prstGeom>
        </p:spPr>
      </p:pic>
      <p:sp>
        <p:nvSpPr>
          <p:cNvPr id="21" name="文本框 20"/>
          <p:cNvSpPr txBox="1"/>
          <p:nvPr/>
        </p:nvSpPr>
        <p:spPr>
          <a:xfrm>
            <a:off x="6478270" y="3329940"/>
            <a:ext cx="5117465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再查看Redis进程，会发现端口为8001的Redis进程已经销毁</a:t>
            </a:r>
          </a:p>
        </p:txBody>
      </p:sp>
      <p:pic>
        <p:nvPicPr>
          <p:cNvPr id="22" name="图片 2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78270" y="3913505"/>
            <a:ext cx="5267325" cy="281940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874075" y="252740"/>
            <a:ext cx="351891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 smtClean="0">
                <a:solidFill>
                  <a:schemeClr val="bg1"/>
                </a:solidFill>
              </a:rPr>
              <a:t>第</a:t>
            </a:r>
            <a:r>
              <a:rPr lang="en-US" altLang="zh-CN" sz="2800" b="1" dirty="0" smtClean="0">
                <a:solidFill>
                  <a:schemeClr val="bg1"/>
                </a:solidFill>
              </a:rPr>
              <a:t>5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章</a:t>
            </a:r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的持久化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graphicFrame>
        <p:nvGraphicFramePr>
          <p:cNvPr id="30" name="表格 29"/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6276903"/>
              </p:ext>
            </p:extLst>
          </p:nvPr>
        </p:nvGraphicFramePr>
        <p:xfrm>
          <a:off x="462431" y="1634204"/>
          <a:ext cx="4173963" cy="4742553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1221105"/>
                <a:gridCol w="2952858"/>
              </a:tblGrid>
              <a:tr h="375974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b="0" dirty="0">
                          <a:solidFill>
                            <a:schemeClr val="tx1"/>
                          </a:solidFill>
                          <a:latin typeface="微软雅黑 (正文)"/>
                        </a:rPr>
                        <a:t>第1章</a:t>
                      </a:r>
                      <a:endParaRPr lang="en-US" altLang="en-US" sz="2000" b="0" dirty="0">
                        <a:solidFill>
                          <a:schemeClr val="tx1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zh-CN" altLang="en-US" sz="2000" b="0" dirty="0" smtClean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初始</a:t>
                      </a:r>
                      <a:r>
                        <a:rPr lang="en-US" altLang="zh-CN" sz="2000" b="0" dirty="0" err="1" smtClean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Redis</a:t>
                      </a:r>
                    </a:p>
                  </a:txBody>
                  <a:tcPr marL="98738" marR="98738" marT="0" marB="0" anchor="ctr">
                    <a:noFill/>
                  </a:tcPr>
                </a:tc>
              </a:tr>
              <a:tr h="375698">
                <a:tc>
                  <a:txBody>
                    <a:bodyPr/>
                    <a:lstStyle/>
                    <a:p>
                      <a:pPr marL="71755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kern="1200" smtClean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2000" kern="1200" smtClean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第</a:t>
                      </a:r>
                      <a:r>
                        <a:rPr lang="en-US" sz="2000" kern="1200" dirty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2章</a:t>
                      </a:r>
                      <a:endParaRPr lang="en-US" altLang="en-US" sz="2000" kern="1200" dirty="0">
                        <a:solidFill>
                          <a:schemeClr val="tx1"/>
                        </a:solidFill>
                        <a:latin typeface="微软雅黑 (正文)"/>
                        <a:ea typeface="+mn-ea"/>
                        <a:cs typeface="+mn-cs"/>
                      </a:endParaRPr>
                    </a:p>
                  </a:txBody>
                  <a:tcPr marL="98738" marR="98738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1755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b="0" kern="1200" dirty="0" err="1" smtClean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Redis</a:t>
                      </a:r>
                      <a:r>
                        <a:rPr lang="zh-CN" altLang="en-US" sz="2000" b="0" kern="1200" dirty="0" smtClean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常用数据类型</a:t>
                      </a:r>
                    </a:p>
                  </a:txBody>
                  <a:tcPr marL="98738" marR="98738" marT="0" marB="0" anchor="ctr">
                    <a:solidFill>
                      <a:schemeClr val="bg1"/>
                    </a:solidFill>
                  </a:tcPr>
                </a:tc>
              </a:tr>
              <a:tr h="375698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>
                          <a:latin typeface="微软雅黑 (正文)"/>
                        </a:rPr>
                        <a:t>第3章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常用命令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375698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>
                          <a:latin typeface="微软雅黑 (正文)"/>
                        </a:rPr>
                        <a:t>第4章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高级主题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375698">
                <a:tc>
                  <a:txBody>
                    <a:bodyPr/>
                    <a:lstStyle/>
                    <a:p>
                      <a:pPr marL="71755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b="0" kern="1200" dirty="0" smtClean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 第</a:t>
                      </a:r>
                      <a:r>
                        <a:rPr lang="en-US" sz="2000" b="0" kern="1200" dirty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5章</a:t>
                      </a:r>
                      <a:endParaRPr lang="en-US" altLang="en-US" sz="2000" b="0" kern="1200" dirty="0">
                        <a:solidFill>
                          <a:schemeClr val="tx1"/>
                        </a:solidFill>
                        <a:latin typeface="微软雅黑 (正文)"/>
                        <a:ea typeface="+mn-ea"/>
                        <a:cs typeface="+mn-cs"/>
                      </a:endParaRPr>
                    </a:p>
                  </a:txBody>
                  <a:tcPr marL="98738" marR="98738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71755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b="0" kern="1200" dirty="0" err="1" smtClean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Redis</a:t>
                      </a:r>
                      <a:r>
                        <a:rPr lang="zh-CN" altLang="en-US" sz="2000" b="0" kern="1200" dirty="0" smtClean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缓存的持久化</a:t>
                      </a:r>
                    </a:p>
                  </a:txBody>
                  <a:tcPr marL="98738" marR="98738" marT="0" marB="0" anchor="ctr">
                    <a:noFill/>
                  </a:tcPr>
                </a:tc>
              </a:tr>
              <a:tr h="375698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>
                          <a:latin typeface="微软雅黑 (正文)"/>
                        </a:rPr>
                        <a:t>第6章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集群环境部署</a:t>
                      </a:r>
                      <a:endParaRPr lang="zh-CN" altLang="en-US" sz="2000" b="0" dirty="0" smtClean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>
                    <a:solidFill>
                      <a:schemeClr val="accent2"/>
                    </a:solidFill>
                  </a:tcPr>
                </a:tc>
              </a:tr>
              <a:tr h="375698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7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开发与实战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573824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8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smtClean="0">
                          <a:latin typeface="微软雅黑 (正文)"/>
                        </a:rPr>
                        <a:t>Spring Boot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与</a:t>
                      </a: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整合应用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375698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9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监控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375698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>
                          <a:latin typeface="微软雅黑 (正文)"/>
                        </a:rPr>
                        <a:t>第10章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的缓存设计与优化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751395">
                <a:tc gridSpan="2"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98738" marR="98738" marT="0" marB="0" anchor="ctr"/>
                </a:tc>
              </a:tr>
            </a:tbl>
          </a:graphicData>
        </a:graphic>
      </p:graphicFrame>
      <p:sp>
        <p:nvSpPr>
          <p:cNvPr id="8" name="任意多边形: 形状 7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</p:spTree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79031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6.3Redis Cluster集群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669925" y="1038860"/>
            <a:ext cx="3131185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2 开始Redis集群搭建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889000" y="1499235"/>
            <a:ext cx="5479415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Redis客户端在连接上端口为8002的Redis集群节点后，查看Redis集群信息</a:t>
            </a: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9965" y="2082800"/>
            <a:ext cx="5276850" cy="2486025"/>
          </a:xfrm>
          <a:prstGeom prst="rect">
            <a:avLst/>
          </a:prstGeom>
        </p:spPr>
      </p:pic>
      <p:sp>
        <p:nvSpPr>
          <p:cNvPr id="9" name="文本框 8"/>
          <p:cNvSpPr txBox="1"/>
          <p:nvPr/>
        </p:nvSpPr>
        <p:spPr>
          <a:xfrm>
            <a:off x="6635115" y="2244090"/>
            <a:ext cx="5318125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会发现端口为8001的Redis集群节点的状态位”disconnected”，表示这个集群节点已经关闭，如果想要打开端口为8001的Redis集群节点，需要使用如下命令。</a:t>
            </a:r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91350" y="3230880"/>
            <a:ext cx="4438650" cy="19050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79031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6.3Redis Cluster集群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669925" y="1038860"/>
            <a:ext cx="1740535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3 集群</a:t>
            </a:r>
            <a:r>
              <a:rPr lang="zh-CN" altLang="en-US" sz="2400">
                <a:sym typeface="+mn-ea"/>
              </a:rPr>
              <a:t>代理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965200" y="1499235"/>
            <a:ext cx="10318750" cy="11988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集群代理(Redis Cluster Proxy) 是Redis 6的新特性，Redis客户端不需要知道Redis集群中的具体节点个数和主从身份，可以直接通过集群代理(Redis Cluster Proxy)访问集群，对于客户端来说通过集群代理访问的集群就和单机的Redis一样，也能解决很多集群的使用限制，如下图所示。</a:t>
            </a:r>
          </a:p>
        </p:txBody>
      </p:sp>
      <p:pic>
        <p:nvPicPr>
          <p:cNvPr id="166" name="图片 16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60240" y="2698115"/>
            <a:ext cx="2667000" cy="2138680"/>
          </a:xfrm>
          <a:prstGeom prst="rect">
            <a:avLst/>
          </a:prstGeom>
        </p:spPr>
      </p:pic>
      <p:sp>
        <p:nvSpPr>
          <p:cNvPr id="3" name="文本框 2"/>
          <p:cNvSpPr txBox="1"/>
          <p:nvPr/>
        </p:nvSpPr>
        <p:spPr>
          <a:xfrm>
            <a:off x="1117600" y="5031740"/>
            <a:ext cx="10166350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Redis集群代理使用的服务器资源列表如下，使用上一节已经配置好的Redis集群环境，将Redis的集群代理（Redis Cluster Proxy）安装在CentOS 7操作系统下。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79031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6.3Redis Cluster集群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669925" y="1038860"/>
            <a:ext cx="1740535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3 集群</a:t>
            </a:r>
            <a:r>
              <a:rPr lang="zh-CN" altLang="en-US" sz="2400">
                <a:sym typeface="+mn-ea"/>
              </a:rPr>
              <a:t>代理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965200" y="1499235"/>
            <a:ext cx="10318750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Redis集群代理当前版本（截止到2020年8月17日）是Redis Cluster Proxy v999.999.999 (unstable)，是最新的测试版本，包含有相对较多的bug，请谨慎在生产环境下使用，期待后续有更稳定的版本推出。</a:t>
            </a:r>
          </a:p>
        </p:txBody>
      </p:sp>
      <p:graphicFrame>
        <p:nvGraphicFramePr>
          <p:cNvPr id="4" name="表格 3"/>
          <p:cNvGraphicFramePr/>
          <p:nvPr>
            <p:custDataLst>
              <p:tags r:id="rId2"/>
            </p:custDataLst>
          </p:nvPr>
        </p:nvGraphicFramePr>
        <p:xfrm>
          <a:off x="3035300" y="2435225"/>
          <a:ext cx="6121400" cy="21945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527810"/>
                <a:gridCol w="650875"/>
                <a:gridCol w="2277110"/>
                <a:gridCol w="1665605"/>
              </a:tblGrid>
              <a:tr h="0"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6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IP地址</a:t>
                      </a:r>
                      <a:endParaRPr lang="en-US" altLang="en-US" sz="16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6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端口</a:t>
                      </a:r>
                      <a:endParaRPr lang="en-US" altLang="en-US" sz="16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6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版本</a:t>
                      </a:r>
                      <a:endParaRPr lang="en-US" altLang="en-US" sz="16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6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操作系统</a:t>
                      </a:r>
                      <a:endParaRPr lang="en-US" altLang="en-US" sz="16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 rowSpan="7"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600" b="0">
                          <a:latin typeface="Calibri" panose="020F0502020204030204" charset="0"/>
                          <a:cs typeface="Calibri" panose="020F0502020204030204" charset="0"/>
                        </a:rPr>
                        <a:t>   </a:t>
                      </a:r>
                      <a:r>
                        <a:rPr lang="en-US" sz="16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192.168.</a:t>
                      </a:r>
                      <a:r>
                        <a:rPr lang="en-US" sz="1600" b="0">
                          <a:latin typeface="Calibri" panose="020F0502020204030204" charset="0"/>
                          <a:cs typeface="Calibri" panose="020F0502020204030204" charset="0"/>
                        </a:rPr>
                        <a:t>11.15 </a:t>
                      </a:r>
                      <a:endParaRPr lang="en-US" altLang="en-US" sz="16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600" b="0">
                          <a:latin typeface="Calibri" panose="020F0502020204030204" charset="0"/>
                          <a:cs typeface="Calibri" panose="020F0502020204030204" charset="0"/>
                        </a:rPr>
                        <a:t>8</a:t>
                      </a:r>
                      <a:r>
                        <a:rPr lang="en-US" sz="16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00</a:t>
                      </a:r>
                      <a:r>
                        <a:rPr lang="en-US" sz="1600" b="0">
                          <a:latin typeface="Calibri" panose="020F0502020204030204" charset="0"/>
                          <a:cs typeface="Calibri" panose="020F0502020204030204" charset="0"/>
                        </a:rPr>
                        <a:t>1</a:t>
                      </a:r>
                      <a:endParaRPr lang="en-US" altLang="en-US" sz="16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6"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600" b="0">
                          <a:latin typeface="Calibri" panose="020F0502020204030204" charset="0"/>
                          <a:cs typeface="Calibri" panose="020F0502020204030204" charset="0"/>
                        </a:rPr>
                        <a:t>   </a:t>
                      </a:r>
                      <a:r>
                        <a:rPr lang="en-US" sz="16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Re</a:t>
                      </a:r>
                      <a:r>
                        <a:rPr lang="en-US" sz="1600" b="0">
                          <a:latin typeface="Calibri" panose="020F0502020204030204" charset="0"/>
                          <a:cs typeface="Calibri" panose="020F0502020204030204" charset="0"/>
                        </a:rPr>
                        <a:t>dis 6.0.6</a:t>
                      </a:r>
                      <a:endParaRPr lang="en-US" altLang="en-US" sz="16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7"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600" b="0">
                          <a:latin typeface="Calibri" panose="020F0502020204030204" charset="0"/>
                          <a:cs typeface="Calibri" panose="020F0502020204030204" charset="0"/>
                        </a:rPr>
                        <a:t>   </a:t>
                      </a:r>
                      <a:r>
                        <a:rPr lang="en-US" sz="16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CentOS7</a:t>
                      </a:r>
                      <a:r>
                        <a:rPr lang="en-US" sz="1600" b="0">
                          <a:latin typeface="Calibri" panose="020F0502020204030204" charset="0"/>
                          <a:cs typeface="Calibri" panose="020F0502020204030204" charset="0"/>
                        </a:rPr>
                        <a:t>64</a:t>
                      </a:r>
                      <a:r>
                        <a:rPr lang="en-US" sz="16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位 </a:t>
                      </a:r>
                      <a:endParaRPr lang="en-US" altLang="en-US" sz="16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600" b="0">
                          <a:latin typeface="Calibri" panose="020F0502020204030204" charset="0"/>
                          <a:cs typeface="Calibri" panose="020F0502020204030204" charset="0"/>
                        </a:rPr>
                        <a:t>8</a:t>
                      </a:r>
                      <a:r>
                        <a:rPr lang="en-US" sz="16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00</a:t>
                      </a:r>
                      <a:r>
                        <a:rPr lang="en-US" sz="1600" b="0">
                          <a:latin typeface="Calibri" panose="020F0502020204030204" charset="0"/>
                          <a:cs typeface="Calibri" panose="020F0502020204030204" charset="0"/>
                        </a:rPr>
                        <a:t>2</a:t>
                      </a:r>
                      <a:endParaRPr lang="en-US" altLang="en-US" sz="16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600" b="0">
                          <a:latin typeface="Calibri" panose="020F0502020204030204" charset="0"/>
                          <a:cs typeface="Calibri" panose="020F0502020204030204" charset="0"/>
                        </a:rPr>
                        <a:t>8</a:t>
                      </a:r>
                      <a:r>
                        <a:rPr lang="en-US" sz="16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00</a:t>
                      </a:r>
                      <a:r>
                        <a:rPr lang="en-US" sz="1600" b="0">
                          <a:latin typeface="Calibri" panose="020F0502020204030204" charset="0"/>
                          <a:cs typeface="Calibri" panose="020F0502020204030204" charset="0"/>
                        </a:rPr>
                        <a:t>3</a:t>
                      </a:r>
                      <a:endParaRPr lang="en-US" altLang="en-US" sz="16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600" b="0">
                          <a:latin typeface="Calibri" panose="020F0502020204030204" charset="0"/>
                          <a:cs typeface="Calibri" panose="020F0502020204030204" charset="0"/>
                        </a:rPr>
                        <a:t>8</a:t>
                      </a:r>
                      <a:r>
                        <a:rPr lang="en-US" sz="16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00</a:t>
                      </a:r>
                      <a:r>
                        <a:rPr lang="en-US" sz="1600" b="0">
                          <a:latin typeface="Calibri" panose="020F0502020204030204" charset="0"/>
                          <a:cs typeface="Calibri" panose="020F0502020204030204" charset="0"/>
                        </a:rPr>
                        <a:t>4</a:t>
                      </a:r>
                      <a:endParaRPr lang="en-US" altLang="en-US" sz="16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600" b="0">
                          <a:latin typeface="Calibri" panose="020F0502020204030204" charset="0"/>
                          <a:cs typeface="Calibri" panose="020F0502020204030204" charset="0"/>
                        </a:rPr>
                        <a:t>8</a:t>
                      </a:r>
                      <a:r>
                        <a:rPr lang="en-US" sz="16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00</a:t>
                      </a:r>
                      <a:r>
                        <a:rPr lang="en-US" sz="1600" b="0">
                          <a:latin typeface="Calibri" panose="020F0502020204030204" charset="0"/>
                          <a:cs typeface="Calibri" panose="020F0502020204030204" charset="0"/>
                        </a:rPr>
                        <a:t>5</a:t>
                      </a:r>
                      <a:endParaRPr lang="en-US" altLang="en-US" sz="16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600" b="0">
                          <a:latin typeface="Calibri" panose="020F0502020204030204" charset="0"/>
                          <a:cs typeface="Calibri" panose="020F0502020204030204" charset="0"/>
                        </a:rPr>
                        <a:t>8</a:t>
                      </a:r>
                      <a:r>
                        <a:rPr lang="en-US" sz="16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00</a:t>
                      </a:r>
                      <a:r>
                        <a:rPr lang="en-US" sz="1600" b="0">
                          <a:latin typeface="Calibri" panose="020F0502020204030204" charset="0"/>
                          <a:cs typeface="Calibri" panose="020F0502020204030204" charset="0"/>
                        </a:rPr>
                        <a:t>6</a:t>
                      </a:r>
                      <a:endParaRPr lang="en-US" altLang="en-US" sz="16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</a:tr>
              <a:tr h="215900"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6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7</a:t>
                      </a:r>
                      <a:r>
                        <a:rPr lang="en-US" sz="1600" b="0">
                          <a:latin typeface="Calibri" panose="020F0502020204030204" charset="0"/>
                          <a:cs typeface="Calibri" panose="020F0502020204030204" charset="0"/>
                        </a:rPr>
                        <a:t>777</a:t>
                      </a:r>
                      <a:endParaRPr lang="en-US" altLang="en-US" sz="1600" b="0">
                        <a:latin typeface="Calibri" panose="020F0502020204030204" charset="0"/>
                        <a:ea typeface="宋体" panose="02010600030101010101" pitchFamily="2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600" b="0">
                          <a:latin typeface="Calibri" panose="020F0502020204030204" charset="0"/>
                          <a:cs typeface="Calibri" panose="020F0502020204030204" charset="0"/>
                        </a:rPr>
                        <a:t>Redis Cluster Proxy v999.999.999 (unstable)</a:t>
                      </a:r>
                      <a:endParaRPr lang="en-US" altLang="en-US" sz="16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5" name="文本框 4"/>
          <p:cNvSpPr txBox="1"/>
          <p:nvPr/>
        </p:nvSpPr>
        <p:spPr>
          <a:xfrm>
            <a:off x="5151120" y="4629785"/>
            <a:ext cx="194691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集群代理实验环境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4667885" y="5090160"/>
            <a:ext cx="285623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以root用户登录Linux服务器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79031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6.3Redis Cluster集群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669925" y="1038860"/>
            <a:ext cx="1740535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3 集群</a:t>
            </a:r>
            <a:r>
              <a:rPr lang="zh-CN" altLang="en-US" sz="2400">
                <a:sym typeface="+mn-ea"/>
              </a:rPr>
              <a:t>代理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974725" y="1499235"/>
            <a:ext cx="218122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0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olidFill>
                  <a:srgbClr val="0000FF"/>
                </a:solidFill>
                <a:sym typeface="+mn-ea"/>
              </a:rPr>
              <a:t>1 </a:t>
            </a:r>
            <a:r>
              <a:rPr sz="1600">
                <a:solidFill>
                  <a:srgbClr val="0000FF"/>
                </a:solidFill>
                <a:sym typeface="+mn-ea"/>
              </a:rPr>
              <a:t>安装Redis集群代理</a:t>
            </a:r>
          </a:p>
        </p:txBody>
      </p:sp>
      <p:sp>
        <p:nvSpPr>
          <p:cNvPr id="7" name="文本框 6"/>
          <p:cNvSpPr txBox="1"/>
          <p:nvPr/>
        </p:nvSpPr>
        <p:spPr>
          <a:xfrm>
            <a:off x="974725" y="1836420"/>
            <a:ext cx="3985260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安装gcc 9.3.1</a:t>
            </a:r>
          </a:p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首先，安装gcc基础依赖包，使用如下命令。</a:t>
            </a: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4725" y="2419985"/>
            <a:ext cx="2181225" cy="180975"/>
          </a:xfrm>
          <a:prstGeom prst="rect">
            <a:avLst/>
          </a:prstGeom>
        </p:spPr>
      </p:pic>
      <p:sp>
        <p:nvSpPr>
          <p:cNvPr id="9" name="文本框 8"/>
          <p:cNvSpPr txBox="1"/>
          <p:nvPr/>
        </p:nvSpPr>
        <p:spPr>
          <a:xfrm>
            <a:off x="974725" y="2600960"/>
            <a:ext cx="5137150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为了编译redis-cluster-proxy源码还需要使用 devtoolset升级gcc版本，gcc版本必须大于4.9。</a:t>
            </a:r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74725" y="3184525"/>
            <a:ext cx="5267325" cy="723900"/>
          </a:xfrm>
          <a:prstGeom prst="rect">
            <a:avLst/>
          </a:prstGeom>
        </p:spPr>
      </p:pic>
      <p:sp>
        <p:nvSpPr>
          <p:cNvPr id="11" name="文本框 10"/>
          <p:cNvSpPr txBox="1"/>
          <p:nvPr/>
        </p:nvSpPr>
        <p:spPr>
          <a:xfrm>
            <a:off x="860425" y="3908425"/>
            <a:ext cx="5380990" cy="1076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安装devtoolset后,需要输入scl enable devtoolset-9 bash来启动devtoolset。启动devtoolset后仅针对本次会话有效,若重新登陆Linux，需要再次使用scl命令激活devtoolset。</a:t>
            </a:r>
          </a:p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若要使devtoolset长期有效，需要输入</a:t>
            </a: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74725" y="4984750"/>
            <a:ext cx="2952750" cy="171450"/>
          </a:xfrm>
          <a:prstGeom prst="rect">
            <a:avLst/>
          </a:prstGeom>
        </p:spPr>
      </p:pic>
      <p:sp>
        <p:nvSpPr>
          <p:cNvPr id="13" name="文本框 12"/>
          <p:cNvSpPr txBox="1"/>
          <p:nvPr/>
        </p:nvSpPr>
        <p:spPr>
          <a:xfrm>
            <a:off x="6432550" y="1499235"/>
            <a:ext cx="420433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olidFill>
                  <a:srgbClr val="0000FF"/>
                </a:solidFill>
                <a:sym typeface="+mn-ea"/>
              </a:rPr>
              <a:t>2，下载，编译，安装和配置Redis集群代理</a:t>
            </a:r>
          </a:p>
        </p:txBody>
      </p:sp>
      <p:sp>
        <p:nvSpPr>
          <p:cNvPr id="14" name="文本框 13"/>
          <p:cNvSpPr txBox="1"/>
          <p:nvPr/>
        </p:nvSpPr>
        <p:spPr>
          <a:xfrm>
            <a:off x="6601460" y="1836420"/>
            <a:ext cx="3970655" cy="33718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安装git，git是一个分布式版本控制系统。</a:t>
            </a:r>
          </a:p>
        </p:txBody>
      </p:sp>
      <p:pic>
        <p:nvPicPr>
          <p:cNvPr id="15" name="图片 1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67500" y="2173605"/>
            <a:ext cx="1809750" cy="200025"/>
          </a:xfrm>
          <a:prstGeom prst="rect">
            <a:avLst/>
          </a:prstGeom>
        </p:spPr>
      </p:pic>
      <p:sp>
        <p:nvSpPr>
          <p:cNvPr id="16" name="文本框 15"/>
          <p:cNvSpPr txBox="1"/>
          <p:nvPr/>
        </p:nvSpPr>
        <p:spPr>
          <a:xfrm>
            <a:off x="6601460" y="2373630"/>
            <a:ext cx="4851400" cy="5835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建立下载文件夹 /upload，在这个目录使用git下载最新版本的redis-cluster-proxy源码包。</a:t>
            </a:r>
          </a:p>
        </p:txBody>
      </p:sp>
      <p:pic>
        <p:nvPicPr>
          <p:cNvPr id="17" name="图片 1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67500" y="2957195"/>
            <a:ext cx="4457700" cy="533400"/>
          </a:xfrm>
          <a:prstGeom prst="rect">
            <a:avLst/>
          </a:prstGeom>
        </p:spPr>
      </p:pic>
      <p:sp>
        <p:nvSpPr>
          <p:cNvPr id="18" name="文本框 17"/>
          <p:cNvSpPr txBox="1"/>
          <p:nvPr/>
        </p:nvSpPr>
        <p:spPr>
          <a:xfrm>
            <a:off x="6601460" y="3494405"/>
            <a:ext cx="3365500" cy="33718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进入下载的redis-cluster-proxy目录</a:t>
            </a:r>
          </a:p>
        </p:txBody>
      </p:sp>
      <p:pic>
        <p:nvPicPr>
          <p:cNvPr id="19" name="图片 1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67500" y="3835400"/>
            <a:ext cx="2228850" cy="171450"/>
          </a:xfrm>
          <a:prstGeom prst="rect">
            <a:avLst/>
          </a:prstGeom>
        </p:spPr>
      </p:pic>
      <p:sp>
        <p:nvSpPr>
          <p:cNvPr id="21" name="文本框 20"/>
          <p:cNvSpPr txBox="1"/>
          <p:nvPr/>
        </p:nvSpPr>
        <p:spPr>
          <a:xfrm>
            <a:off x="6601460" y="4010660"/>
            <a:ext cx="3727450" cy="33718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使用make命令安装redis_cluster_proxy</a:t>
            </a:r>
          </a:p>
        </p:txBody>
      </p:sp>
      <p:pic>
        <p:nvPicPr>
          <p:cNvPr id="22" name="图片 2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645910" y="4351655"/>
            <a:ext cx="3990975" cy="171450"/>
          </a:xfrm>
          <a:prstGeom prst="rect">
            <a:avLst/>
          </a:prstGeom>
        </p:spPr>
      </p:pic>
      <p:sp>
        <p:nvSpPr>
          <p:cNvPr id="23" name="文本框 22"/>
          <p:cNvSpPr txBox="1"/>
          <p:nvPr/>
        </p:nvSpPr>
        <p:spPr>
          <a:xfrm>
            <a:off x="6601460" y="4526915"/>
            <a:ext cx="5080000" cy="13220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make命令使用的参数PREFIX代表安装路径，参数要大写。执行make命令后会自动把redis_cluster_proxy的可执行命令复制到 “/usr/local/ redis_cluster_proxy /bin”目录下，这样执行redis_cluster_proxy命令时，就不用输入完整路径了。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79031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6.3Redis Cluster集群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669925" y="1038860"/>
            <a:ext cx="1740535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3 集群</a:t>
            </a:r>
            <a:r>
              <a:rPr lang="zh-CN" altLang="en-US" sz="2400">
                <a:sym typeface="+mn-ea"/>
              </a:rPr>
              <a:t>代理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974725" y="1499235"/>
            <a:ext cx="4923790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0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安装成功后，需要对redis-cluster-proxy进行部署，把它的配置文件proxy.conf拷贝到 “/usr/local/redis-cluster-proxy/conf”目录下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1245" y="2329180"/>
            <a:ext cx="4029075" cy="533400"/>
          </a:xfrm>
          <a:prstGeom prst="rect">
            <a:avLst/>
          </a:prstGeom>
        </p:spPr>
      </p:pic>
      <p:sp>
        <p:nvSpPr>
          <p:cNvPr id="4" name="文本框 3"/>
          <p:cNvSpPr txBox="1"/>
          <p:nvPr/>
        </p:nvSpPr>
        <p:spPr>
          <a:xfrm>
            <a:off x="974725" y="2862580"/>
            <a:ext cx="417639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部署后的Redis集群代理的目录结构如图所示</a:t>
            </a:r>
          </a:p>
        </p:txBody>
      </p:sp>
      <p:pic>
        <p:nvPicPr>
          <p:cNvPr id="64" name="图片 6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71245" y="3301365"/>
            <a:ext cx="2606040" cy="998220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974725" y="4401185"/>
            <a:ext cx="432816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使用vi命令修改集群代理的配置文件proxy.conf</a:t>
            </a: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71245" y="4738370"/>
            <a:ext cx="3810000" cy="180975"/>
          </a:xfrm>
          <a:prstGeom prst="rect">
            <a:avLst/>
          </a:prstGeom>
        </p:spPr>
      </p:pic>
      <p:sp>
        <p:nvSpPr>
          <p:cNvPr id="24" name="文本框 23"/>
          <p:cNvSpPr txBox="1"/>
          <p:nvPr/>
        </p:nvSpPr>
        <p:spPr>
          <a:xfrm>
            <a:off x="6299200" y="967105"/>
            <a:ext cx="378523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修改proxy.conf配置文件中以下的配置项</a:t>
            </a:r>
          </a:p>
        </p:txBody>
      </p:sp>
      <p:pic>
        <p:nvPicPr>
          <p:cNvPr id="25" name="图片 2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99200" y="1367790"/>
            <a:ext cx="5267325" cy="2838450"/>
          </a:xfrm>
          <a:prstGeom prst="rect">
            <a:avLst/>
          </a:prstGeom>
        </p:spPr>
      </p:pic>
      <p:sp>
        <p:nvSpPr>
          <p:cNvPr id="26" name="文本框 25"/>
          <p:cNvSpPr txBox="1"/>
          <p:nvPr/>
        </p:nvSpPr>
        <p:spPr>
          <a:xfrm>
            <a:off x="6221730" y="4206240"/>
            <a:ext cx="5460365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最后，将Redis集群代理（Redis Cluster Proxy）的命令所在目录添加到系统参数PATH中，修改/etc/profile文件</a:t>
            </a:r>
          </a:p>
        </p:txBody>
      </p:sp>
      <p:pic>
        <p:nvPicPr>
          <p:cNvPr id="27" name="图片 2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99200" y="4785995"/>
            <a:ext cx="1647825" cy="171450"/>
          </a:xfrm>
          <a:prstGeom prst="rect">
            <a:avLst/>
          </a:prstGeom>
        </p:spPr>
      </p:pic>
      <p:sp>
        <p:nvSpPr>
          <p:cNvPr id="28" name="文本框 27"/>
          <p:cNvSpPr txBox="1"/>
          <p:nvPr/>
        </p:nvSpPr>
        <p:spPr>
          <a:xfrm>
            <a:off x="6213475" y="4950460"/>
            <a:ext cx="387096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在 /etc/profile文件最后一行添加以下内容</a:t>
            </a:r>
          </a:p>
        </p:txBody>
      </p:sp>
      <p:pic>
        <p:nvPicPr>
          <p:cNvPr id="29" name="图片 2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299200" y="5248275"/>
            <a:ext cx="4000500" cy="200025"/>
          </a:xfrm>
          <a:prstGeom prst="rect">
            <a:avLst/>
          </a:prstGeom>
        </p:spPr>
      </p:pic>
      <p:sp>
        <p:nvSpPr>
          <p:cNvPr id="30" name="文本框 29"/>
          <p:cNvSpPr txBox="1"/>
          <p:nvPr/>
        </p:nvSpPr>
        <p:spPr>
          <a:xfrm>
            <a:off x="6221730" y="5448300"/>
            <a:ext cx="388937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然后使用source命令使这个文件立即生效</a:t>
            </a:r>
          </a:p>
        </p:txBody>
      </p:sp>
      <p:pic>
        <p:nvPicPr>
          <p:cNvPr id="31" name="图片 30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299200" y="5739130"/>
            <a:ext cx="1933575" cy="190500"/>
          </a:xfrm>
          <a:prstGeom prst="rect">
            <a:avLst/>
          </a:prstGeom>
        </p:spPr>
      </p:pic>
      <p:sp>
        <p:nvSpPr>
          <p:cNvPr id="32" name="文本框 31"/>
          <p:cNvSpPr txBox="1"/>
          <p:nvPr/>
        </p:nvSpPr>
        <p:spPr>
          <a:xfrm>
            <a:off x="6221730" y="5946140"/>
            <a:ext cx="5080000" cy="2527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至此，Redis集群代理在Linux上的安装和配置就结束了。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79031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6.3Redis Cluster集群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669925" y="1038860"/>
            <a:ext cx="1740535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3 集群</a:t>
            </a:r>
            <a:r>
              <a:rPr lang="zh-CN" altLang="en-US" sz="2400">
                <a:sym typeface="+mn-ea"/>
              </a:rPr>
              <a:t>代理</a:t>
            </a:r>
          </a:p>
        </p:txBody>
      </p:sp>
      <p:sp>
        <p:nvSpPr>
          <p:cNvPr id="13" name="文本框 12"/>
          <p:cNvSpPr txBox="1"/>
          <p:nvPr/>
        </p:nvSpPr>
        <p:spPr>
          <a:xfrm>
            <a:off x="784225" y="1432560"/>
            <a:ext cx="289052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olidFill>
                  <a:srgbClr val="0000FF"/>
                </a:solidFill>
                <a:sym typeface="+mn-ea"/>
              </a:rPr>
              <a:t>3，配置和启动Redis集群代理</a:t>
            </a:r>
          </a:p>
        </p:txBody>
      </p:sp>
      <p:sp>
        <p:nvSpPr>
          <p:cNvPr id="7" name="文本框 6"/>
          <p:cNvSpPr txBox="1"/>
          <p:nvPr/>
        </p:nvSpPr>
        <p:spPr>
          <a:xfrm>
            <a:off x="784225" y="1769745"/>
            <a:ext cx="615442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在Redis 6集群启动后，启动Redis集群代理（redis-cluster-proxy）。</a:t>
            </a: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1220" y="2106930"/>
            <a:ext cx="5267325" cy="200025"/>
          </a:xfrm>
          <a:prstGeom prst="rect">
            <a:avLst/>
          </a:prstGeom>
        </p:spPr>
      </p:pic>
      <p:sp>
        <p:nvSpPr>
          <p:cNvPr id="9" name="文本框 8"/>
          <p:cNvSpPr txBox="1"/>
          <p:nvPr/>
        </p:nvSpPr>
        <p:spPr>
          <a:xfrm>
            <a:off x="784225" y="2306955"/>
            <a:ext cx="6803390" cy="11988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redis-cluster-proxy命令的参数 -c 表示加载proxy.conf配置文件后启动Redis集群代理。执行启动Redis代理集群命令的返回结果如下图所示，可以看出Redis集群代理已经成功启动。</a:t>
            </a:r>
          </a:p>
        </p:txBody>
      </p:sp>
      <p:pic>
        <p:nvPicPr>
          <p:cNvPr id="208" name="图片 20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71220" y="3505518"/>
            <a:ext cx="5274310" cy="730885"/>
          </a:xfrm>
          <a:prstGeom prst="rect">
            <a:avLst/>
          </a:prstGeom>
        </p:spPr>
      </p:pic>
      <p:sp>
        <p:nvSpPr>
          <p:cNvPr id="10" name="文本框 9"/>
          <p:cNvSpPr txBox="1"/>
          <p:nvPr/>
        </p:nvSpPr>
        <p:spPr>
          <a:xfrm>
            <a:off x="784225" y="4236720"/>
            <a:ext cx="680402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输入 ps -ef | grep redis，可以看出Redis集群代理进程占用的端口是5855</a:t>
            </a:r>
          </a:p>
        </p:txBody>
      </p:sp>
      <p:pic>
        <p:nvPicPr>
          <p:cNvPr id="209" name="图片 20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71220" y="4573905"/>
            <a:ext cx="5274310" cy="699770"/>
          </a:xfrm>
          <a:prstGeom prst="rect">
            <a:avLst/>
          </a:prstGeom>
        </p:spPr>
      </p:pic>
      <p:sp>
        <p:nvSpPr>
          <p:cNvPr id="11" name="文本框 10"/>
          <p:cNvSpPr txBox="1"/>
          <p:nvPr/>
        </p:nvSpPr>
        <p:spPr>
          <a:xfrm>
            <a:off x="784225" y="5304790"/>
            <a:ext cx="719455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如果需要停止Redis集群代理，可以使用kill命令无条件终止Redis集群代理进程</a:t>
            </a: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71220" y="5673090"/>
            <a:ext cx="1514475" cy="180975"/>
          </a:xfrm>
          <a:prstGeom prst="rect">
            <a:avLst/>
          </a:prstGeom>
        </p:spPr>
      </p:pic>
      <p:sp>
        <p:nvSpPr>
          <p:cNvPr id="14" name="文本框 13"/>
          <p:cNvSpPr txBox="1"/>
          <p:nvPr/>
        </p:nvSpPr>
        <p:spPr>
          <a:xfrm>
            <a:off x="784225" y="5885180"/>
            <a:ext cx="525081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通过Redis客户端连接到Redis集群代理，使用以下命令</a:t>
            </a:r>
          </a:p>
        </p:txBody>
      </p:sp>
      <p:pic>
        <p:nvPicPr>
          <p:cNvPr id="15" name="图片 1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71220" y="6191250"/>
            <a:ext cx="2952750" cy="19050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79031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6.3Redis Cluster集群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669925" y="1038860"/>
            <a:ext cx="1740535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3 集群</a:t>
            </a:r>
            <a:r>
              <a:rPr lang="zh-CN" altLang="en-US" sz="2400">
                <a:sym typeface="+mn-ea"/>
              </a:rPr>
              <a:t>代理</a:t>
            </a:r>
          </a:p>
        </p:txBody>
      </p:sp>
      <p:sp>
        <p:nvSpPr>
          <p:cNvPr id="13" name="文本框 12"/>
          <p:cNvSpPr txBox="1"/>
          <p:nvPr/>
        </p:nvSpPr>
        <p:spPr>
          <a:xfrm>
            <a:off x="784225" y="1432560"/>
            <a:ext cx="289052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olidFill>
                  <a:srgbClr val="0000FF"/>
                </a:solidFill>
                <a:sym typeface="+mn-ea"/>
              </a:rPr>
              <a:t>3，配置和启动Redis集群代理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784225" y="1760855"/>
            <a:ext cx="10728325" cy="11988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与Redis 集群连接方式不同，在Redis集群代理(redis-cluster-proxy)模式下，Redis客户端可以连接至Redis集群代理（redis-cluster-proxy）节点，而无需知道Redis集群自身的详细信息，剩下的和操作单机Redis是一样的，通过集群代理访问Redis集群，如下图所示</a:t>
            </a:r>
          </a:p>
        </p:txBody>
      </p:sp>
      <p:pic>
        <p:nvPicPr>
          <p:cNvPr id="210" name="图片 2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15060" y="2988945"/>
            <a:ext cx="3345180" cy="899160"/>
          </a:xfrm>
          <a:prstGeom prst="rect">
            <a:avLst/>
          </a:prstGeom>
        </p:spPr>
      </p:pic>
      <p:sp>
        <p:nvSpPr>
          <p:cNvPr id="3" name="文本框 2"/>
          <p:cNvSpPr txBox="1"/>
          <p:nvPr/>
        </p:nvSpPr>
        <p:spPr>
          <a:xfrm>
            <a:off x="784225" y="3993515"/>
            <a:ext cx="10728325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使用传统的Redis集群连接方式，来查看上面SADD操作的数据，可以发现的确是写入到Redis集群中不同的节点中了，如下图所示。</a:t>
            </a:r>
          </a:p>
        </p:txBody>
      </p:sp>
      <p:pic>
        <p:nvPicPr>
          <p:cNvPr id="211" name="图片 2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15060" y="4823460"/>
            <a:ext cx="3642360" cy="800100"/>
          </a:xfrm>
          <a:prstGeom prst="rect">
            <a:avLst/>
          </a:prstGeom>
        </p:spPr>
      </p:pic>
      <p:sp>
        <p:nvSpPr>
          <p:cNvPr id="4" name="文本框 3"/>
          <p:cNvSpPr txBox="1"/>
          <p:nvPr/>
        </p:nvSpPr>
        <p:spPr>
          <a:xfrm>
            <a:off x="5251450" y="3331210"/>
            <a:ext cx="280416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通过集群代理访问Redis集群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5070475" y="5025390"/>
            <a:ext cx="3165475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通过Redis客户端访问Redis集群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79031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6.3Redis Cluster集群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669925" y="1038860"/>
            <a:ext cx="1740535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4 集群</a:t>
            </a:r>
            <a:r>
              <a:rPr lang="zh-CN" altLang="en-US" sz="2400">
                <a:sym typeface="+mn-ea"/>
              </a:rPr>
              <a:t>特点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841375" y="1499235"/>
            <a:ext cx="10509250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Redis Cluster集群方案采用的是虚拟槽分区，槽范围是0~16383,共有16384个槽，槽有3个主节点时，每个节点大致负责5500个槽的读写，每个节点会维护自身负责的虚拟槽。</a:t>
            </a:r>
          </a:p>
        </p:txBody>
      </p:sp>
      <p:sp>
        <p:nvSpPr>
          <p:cNvPr id="7" name="文本框 6"/>
          <p:cNvSpPr txBox="1"/>
          <p:nvPr/>
        </p:nvSpPr>
        <p:spPr>
          <a:xfrm>
            <a:off x="841375" y="2082800"/>
            <a:ext cx="10509250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键所对应的哈希值通过公式计算： CRC16(key) % 16384 。在集群的实际使用时，SET key value 命令会计算hash值，把键值存储设置到对应的主节点上。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841375" y="2666365"/>
            <a:ext cx="10509250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Redis Cluster集群采用了哈希分区的“虚拟槽分区”方式，所有的键根据哈希函数(CRC16[key] &amp; 16383)映射到0－16383槽内，一共有16384个槽位，每个节点维护部分槽及槽所映射的键值数据，哈希函数: CRC16[key] &amp; 16383 进行按位与操作。槽与节点的关系如下</a:t>
            </a:r>
          </a:p>
        </p:txBody>
      </p:sp>
      <p:pic>
        <p:nvPicPr>
          <p:cNvPr id="128" name="图片 12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40790" y="3570923"/>
            <a:ext cx="3219450" cy="2459355"/>
          </a:xfrm>
          <a:prstGeom prst="rect">
            <a:avLst/>
          </a:prstGeom>
        </p:spPr>
      </p:pic>
      <p:sp>
        <p:nvSpPr>
          <p:cNvPr id="9" name="文本框 8"/>
          <p:cNvSpPr txBox="1"/>
          <p:nvPr/>
        </p:nvSpPr>
        <p:spPr>
          <a:xfrm>
            <a:off x="1841500" y="6105525"/>
            <a:ext cx="1689100" cy="245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000">
                <a:sym typeface="+mn-ea"/>
              </a:rPr>
              <a:t>Redis集群槽与节点的关系</a:t>
            </a:r>
          </a:p>
        </p:txBody>
      </p:sp>
      <p:pic>
        <p:nvPicPr>
          <p:cNvPr id="11286" name="图片 1128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38838" y="3496310"/>
            <a:ext cx="3762375" cy="2405380"/>
          </a:xfrm>
          <a:prstGeom prst="rect">
            <a:avLst/>
          </a:prstGeom>
        </p:spPr>
      </p:pic>
      <p:sp>
        <p:nvSpPr>
          <p:cNvPr id="10" name="文本框 9"/>
          <p:cNvSpPr txBox="1"/>
          <p:nvPr/>
        </p:nvSpPr>
        <p:spPr>
          <a:xfrm>
            <a:off x="6584950" y="6030595"/>
            <a:ext cx="2680335" cy="245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000">
                <a:sym typeface="+mn-ea"/>
              </a:rPr>
              <a:t>用hash函数将键映射到槽，再由槽指向数据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79031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6.3Redis Cluster集群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669925" y="1038860"/>
            <a:ext cx="1740535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4 集群</a:t>
            </a:r>
            <a:r>
              <a:rPr lang="zh-CN" altLang="en-US" sz="2400">
                <a:sym typeface="+mn-ea"/>
              </a:rPr>
              <a:t>特点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755650" y="1499235"/>
            <a:ext cx="5155565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启动Redis 集群后，使用Redis客户端连接主机名为192.168.11.15和端口为8001的Redis集群节点</a:t>
            </a: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4070" y="2082800"/>
            <a:ext cx="3248025" cy="361950"/>
          </a:xfrm>
          <a:prstGeom prst="rect">
            <a:avLst/>
          </a:prstGeom>
        </p:spPr>
      </p:pic>
      <p:sp>
        <p:nvSpPr>
          <p:cNvPr id="4" name="文本框 3"/>
          <p:cNvSpPr txBox="1"/>
          <p:nvPr/>
        </p:nvSpPr>
        <p:spPr>
          <a:xfrm>
            <a:off x="755650" y="2444750"/>
            <a:ext cx="5080000" cy="2527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然后输入cluster nodes命令查看当前Redis集群的节点列表</a:t>
            </a: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4070" y="3059430"/>
            <a:ext cx="5276850" cy="2667000"/>
          </a:xfrm>
          <a:prstGeom prst="rect">
            <a:avLst/>
          </a:prstGeom>
        </p:spPr>
      </p:pic>
      <p:sp>
        <p:nvSpPr>
          <p:cNvPr id="11" name="文本框 10"/>
          <p:cNvSpPr txBox="1"/>
          <p:nvPr/>
        </p:nvSpPr>
        <p:spPr>
          <a:xfrm>
            <a:off x="6337300" y="1308735"/>
            <a:ext cx="5184775" cy="1076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    </a:t>
            </a:r>
            <a:r>
              <a:rPr sz="1600">
                <a:sym typeface="+mn-ea"/>
              </a:rPr>
              <a:t>该命令返回值显示了Redis集群中的每个节点的id、身份、连接数和插槽数等。从返回值可以看出，整个Redis集群运行正常，整个集群包含三个主节点（Master）和三个从节点（Slave）。</a:t>
            </a:r>
          </a:p>
        </p:txBody>
      </p:sp>
      <p:sp>
        <p:nvSpPr>
          <p:cNvPr id="12" name="文本框 11"/>
          <p:cNvSpPr txBox="1"/>
          <p:nvPr/>
        </p:nvSpPr>
        <p:spPr>
          <a:xfrm>
            <a:off x="6337300" y="2446020"/>
            <a:ext cx="5632450" cy="11988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1 </a:t>
            </a:r>
            <a:r>
              <a:rPr sz="1600">
                <a:sym typeface="+mn-ea"/>
              </a:rPr>
              <a:t>8001端口的Redis集群主节点存储0 ~ 5460个哈希槽</a:t>
            </a:r>
          </a:p>
          <a:p>
            <a:pPr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2 </a:t>
            </a:r>
            <a:r>
              <a:rPr sz="1600">
                <a:sym typeface="+mn-ea"/>
              </a:rPr>
              <a:t>8002端口的Redis集群主节点存储5461 ~ 10922个哈希槽</a:t>
            </a:r>
          </a:p>
          <a:p>
            <a:pPr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3 </a:t>
            </a:r>
            <a:r>
              <a:rPr sz="1600">
                <a:sym typeface="+mn-ea"/>
              </a:rPr>
              <a:t>8003端口的Redis集群主节点存储10923 ~ 16383个哈希槽</a:t>
            </a:r>
          </a:p>
        </p:txBody>
      </p:sp>
      <p:sp>
        <p:nvSpPr>
          <p:cNvPr id="13" name="文本框 12"/>
          <p:cNvSpPr txBox="1"/>
          <p:nvPr/>
        </p:nvSpPr>
        <p:spPr>
          <a:xfrm>
            <a:off x="6337300" y="3705860"/>
            <a:ext cx="5184775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    </a:t>
            </a:r>
            <a:r>
              <a:rPr sz="1600">
                <a:sym typeface="+mn-ea"/>
              </a:rPr>
              <a:t>这三个Master节点存储的所有哈希槽组成Redis集群的存储槽位，Slave节点是每个主节点的备份从节点，不显示存储槽位</a:t>
            </a:r>
          </a:p>
        </p:txBody>
      </p:sp>
      <p:sp>
        <p:nvSpPr>
          <p:cNvPr id="14" name="文本框 13"/>
          <p:cNvSpPr txBox="1"/>
          <p:nvPr/>
        </p:nvSpPr>
        <p:spPr>
          <a:xfrm>
            <a:off x="6308725" y="4596765"/>
            <a:ext cx="5690235" cy="13220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    Redis 集群中内置了 16384 个哈希槽，当需要在 Redis 集群中放置一个 key-value（键值）时，Redis 先对 key 使用 crc16 算法算出一个结果，然后把结果对 16384 求余数。这样每个 key 都会对应一个编号在 0-16383 之间的哈希槽，Redis 会根据节点数量大致均等的将哈希槽映射到不同的节点。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79031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6.3Redis Cluster集群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669925" y="1038860"/>
            <a:ext cx="1740535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4 集群</a:t>
            </a:r>
            <a:r>
              <a:rPr lang="zh-CN" altLang="en-US" sz="2400">
                <a:sym typeface="+mn-ea"/>
              </a:rPr>
              <a:t>特点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755650" y="1499235"/>
            <a:ext cx="5155565" cy="13220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使用哈希槽的可以方便的添加或移除节点。当需要增加节点时，只需要把其他节点的某些哈希槽挪到新节点就可以了。当需要移除节点时，只需要把移除节点上的哈希槽挪到其他节点就行了。新增或移除节点的时候不需要先停掉所有的 Redis 服务。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755650" y="2821305"/>
            <a:ext cx="422275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可以使用cluster info命令查看Redis集群信息。</a:t>
            </a: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3445" y="3158490"/>
            <a:ext cx="3343275" cy="3019425"/>
          </a:xfrm>
          <a:prstGeom prst="rect">
            <a:avLst/>
          </a:prstGeom>
        </p:spPr>
      </p:pic>
      <p:sp>
        <p:nvSpPr>
          <p:cNvPr id="8" name="文本框 7"/>
          <p:cNvSpPr txBox="1"/>
          <p:nvPr/>
        </p:nvSpPr>
        <p:spPr>
          <a:xfrm>
            <a:off x="6032500" y="1038860"/>
            <a:ext cx="5879465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当我们执行SET age 23命令时，Redis是如何将数据保存到集群中的呢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24575" y="1622425"/>
            <a:ext cx="4476750" cy="695325"/>
          </a:xfrm>
          <a:prstGeom prst="rect">
            <a:avLst/>
          </a:prstGeom>
        </p:spPr>
      </p:pic>
      <p:sp>
        <p:nvSpPr>
          <p:cNvPr id="10" name="文本框 9"/>
          <p:cNvSpPr txBox="1"/>
          <p:nvPr/>
        </p:nvSpPr>
        <p:spPr>
          <a:xfrm>
            <a:off x="6032500" y="2331085"/>
            <a:ext cx="5879465" cy="13220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执行步骤如下：</a:t>
            </a:r>
          </a:p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1） 接收命令SET age 23</a:t>
            </a:r>
          </a:p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2） 通过key（age）计算出插槽值，然后根据插槽值找到对应的节点。（age的插槽值为：741）</a:t>
            </a:r>
          </a:p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3） 重定向到该节点执行命令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6032500" y="3666490"/>
            <a:ext cx="5879465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整个Redis集群提供了16384个插槽，也就是说集群中的每个节点分得的插槽数总和为16384。Redis集群实现了将16384个插槽平均分配给了N个节点，如下图所示</a:t>
            </a:r>
          </a:p>
        </p:txBody>
      </p:sp>
      <p:pic>
        <p:nvPicPr>
          <p:cNvPr id="274" name="图片 27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32500" y="4509770"/>
            <a:ext cx="3416300" cy="1576705"/>
          </a:xfrm>
          <a:prstGeom prst="rect">
            <a:avLst/>
          </a:prstGeom>
        </p:spPr>
      </p:pic>
      <p:sp>
        <p:nvSpPr>
          <p:cNvPr id="17" name="文本框 16"/>
          <p:cNvSpPr txBox="1"/>
          <p:nvPr/>
        </p:nvSpPr>
        <p:spPr>
          <a:xfrm>
            <a:off x="9448800" y="4698365"/>
            <a:ext cx="2463800" cy="11988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200">
                <a:sym typeface="+mn-ea"/>
              </a:rPr>
              <a:t>如果插槽数有部分是没有指定到Redis节点的，那么这部分插槽所对应的keys将不能使用。</a:t>
            </a:r>
          </a:p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200">
                <a:sym typeface="+mn-ea"/>
              </a:rPr>
              <a:t>Redis 集群的数据分散度高，键值分布与业务无关，键值无法顺序访问，支持批量操作。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3" name="矩形 2"/>
          <p:cNvSpPr/>
          <p:nvPr/>
        </p:nvSpPr>
        <p:spPr>
          <a:xfrm>
            <a:off x="6735334" y="1992002"/>
            <a:ext cx="5364480" cy="6451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zh-CN" altLang="en-US" sz="3600" dirty="0" smtClean="0">
                <a:solidFill>
                  <a:srgbClr val="000000"/>
                </a:solidFill>
              </a:rPr>
              <a:t>第</a:t>
            </a:r>
            <a:r>
              <a:rPr lang="en-US" altLang="zh-CN" sz="3600" dirty="0" smtClean="0">
                <a:solidFill>
                  <a:srgbClr val="000000"/>
                </a:solidFill>
              </a:rPr>
              <a:t>6</a:t>
            </a:r>
            <a:r>
              <a:rPr lang="zh-CN" altLang="en-US" sz="3600" dirty="0" smtClean="0">
                <a:solidFill>
                  <a:srgbClr val="000000"/>
                </a:solidFill>
              </a:rPr>
              <a:t>章 </a:t>
            </a:r>
            <a:r>
              <a:rPr lang="en-US" altLang="zh-CN" sz="3600" dirty="0" err="1" smtClean="0">
                <a:latin typeface="微软雅黑 (正文)"/>
                <a:sym typeface="+mn-ea"/>
              </a:rPr>
              <a:t>Redis</a:t>
            </a:r>
            <a:r>
              <a:rPr lang="zh-CN" altLang="en-US" sz="3600" dirty="0" smtClean="0">
                <a:latin typeface="微软雅黑 (正文)"/>
                <a:sym typeface="+mn-ea"/>
              </a:rPr>
              <a:t>集群环境部署</a:t>
            </a:r>
            <a:endParaRPr lang="zh-CN" altLang="en-US" sz="3600" dirty="0" smtClean="0">
              <a:solidFill>
                <a:srgbClr val="000000"/>
              </a:solidFill>
            </a:endParaRPr>
          </a:p>
        </p:txBody>
      </p:sp>
      <p:cxnSp>
        <p:nvCxnSpPr>
          <p:cNvPr id="5" name="直接连接符 4"/>
          <p:cNvCxnSpPr/>
          <p:nvPr/>
        </p:nvCxnSpPr>
        <p:spPr>
          <a:xfrm>
            <a:off x="7421733" y="3190471"/>
            <a:ext cx="412538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矩形 5"/>
          <p:cNvSpPr/>
          <p:nvPr/>
        </p:nvSpPr>
        <p:spPr>
          <a:xfrm>
            <a:off x="7361663" y="3247028"/>
            <a:ext cx="4329575" cy="5798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32000"/>
              </a:lnSpc>
            </a:pPr>
            <a:r>
              <a:rPr lang="zh-CN" altLang="en-US" sz="2400" dirty="0">
                <a:solidFill>
                  <a:srgbClr val="002060"/>
                </a:solidFill>
              </a:rPr>
              <a:t>主讲</a:t>
            </a:r>
            <a:r>
              <a:rPr lang="zh-CN" altLang="en-US" sz="2400" dirty="0" smtClean="0">
                <a:solidFill>
                  <a:srgbClr val="002060"/>
                </a:solidFill>
              </a:rPr>
              <a:t>：***    </a:t>
            </a:r>
            <a:r>
              <a:rPr lang="zh-CN" altLang="en-US" sz="2400" dirty="0">
                <a:solidFill>
                  <a:srgbClr val="002060"/>
                </a:solidFill>
              </a:rPr>
              <a:t>主审： ***</a:t>
            </a:r>
            <a:endParaRPr lang="en-US" altLang="zh-CN" sz="2400" dirty="0">
              <a:solidFill>
                <a:srgbClr val="002060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17004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2" name="图片 3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361342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文本框 99"/>
          <p:cNvSpPr txBox="1"/>
          <p:nvPr/>
        </p:nvSpPr>
        <p:spPr>
          <a:xfrm>
            <a:off x="1696720" y="1641475"/>
            <a:ext cx="1470025" cy="645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indent="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  <a:buNone/>
            </a:pPr>
            <a:r>
              <a:rPr lang="en-US" altLang="zh-CN" sz="2400" dirty="0" err="1" smtClean="0">
                <a:sym typeface="+mn-ea"/>
              </a:rPr>
              <a:t>主从复制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1696720" y="2302510"/>
            <a:ext cx="1470025" cy="645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indent="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  <a:buNone/>
            </a:pPr>
            <a:r>
              <a:rPr lang="zh-CN" altLang="en-US" sz="2400" dirty="0" err="1" smtClean="0">
                <a:sym typeface="+mn-ea"/>
              </a:rPr>
              <a:t>哨兵模式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3081432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7" name="文本框 6"/>
          <p:cNvSpPr txBox="1"/>
          <p:nvPr/>
        </p:nvSpPr>
        <p:spPr>
          <a:xfrm>
            <a:off x="1696720" y="3022600"/>
            <a:ext cx="2714625" cy="645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indent="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  <a:buNone/>
            </a:pPr>
            <a:r>
              <a:rPr lang="zh-CN" altLang="en-US" sz="2400" dirty="0" err="1" smtClean="0">
                <a:sym typeface="+mn-ea"/>
              </a:rPr>
              <a:t>Redis Cluster集群</a:t>
            </a:r>
          </a:p>
        </p:txBody>
      </p:sp>
    </p:spTree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79031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6.3Redis Cluster集群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669925" y="1038860"/>
            <a:ext cx="326390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5 </a:t>
            </a:r>
            <a:r>
              <a:rPr sz="2400">
                <a:sym typeface="+mn-ea"/>
              </a:rPr>
              <a:t>新增Redis集群节点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869950" y="1499235"/>
            <a:ext cx="10614025" cy="15684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    </a:t>
            </a:r>
            <a:r>
              <a:rPr sz="1600">
                <a:sym typeface="+mn-ea"/>
              </a:rPr>
              <a:t>在集群搭建小节中我们把六个Redis节点部署在一台Linux服务器上，采用三主三从的模式启动Redis集群，本节进行Redis集群的水平扩展实验，在原始Redis集群基础上新增两个Redis节点，一个Master主节点(端口号为8007)和一个Slave从节点(端口号为8008)，Redis集群增加节点的架构如下图所示。增加Redis节点的顺序是先增加Master主节点，然后在增加Slave从节点。</a:t>
            </a:r>
          </a:p>
        </p:txBody>
      </p:sp>
      <p:pic>
        <p:nvPicPr>
          <p:cNvPr id="163" name="图片 16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15895" y="3067685"/>
            <a:ext cx="6614160" cy="2068195"/>
          </a:xfrm>
          <a:prstGeom prst="rect">
            <a:avLst/>
          </a:prstGeom>
        </p:spPr>
      </p:pic>
      <p:sp>
        <p:nvSpPr>
          <p:cNvPr id="4" name="文本框 3"/>
          <p:cNvSpPr txBox="1"/>
          <p:nvPr/>
        </p:nvSpPr>
        <p:spPr>
          <a:xfrm>
            <a:off x="5074920" y="5217160"/>
            <a:ext cx="204216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Redis集群新增节点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79031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6.3Redis Cluster集群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669925" y="1038860"/>
            <a:ext cx="326390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5 </a:t>
            </a:r>
            <a:r>
              <a:rPr sz="2400">
                <a:sym typeface="+mn-ea"/>
              </a:rPr>
              <a:t>新增Redis集群节点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955675" y="1499235"/>
            <a:ext cx="225171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一，增加Redis主节点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955675" y="1836420"/>
            <a:ext cx="5432425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新添加一个Redis节点，需要在/usr/local/redis-cluster下创建8007，执行以下操作</a:t>
            </a: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1555" y="2419985"/>
            <a:ext cx="2581275" cy="371475"/>
          </a:xfrm>
          <a:prstGeom prst="rect">
            <a:avLst/>
          </a:prstGeom>
        </p:spPr>
      </p:pic>
      <p:sp>
        <p:nvSpPr>
          <p:cNvPr id="8" name="文本框 7"/>
          <p:cNvSpPr txBox="1"/>
          <p:nvPr/>
        </p:nvSpPr>
        <p:spPr>
          <a:xfrm>
            <a:off x="955675" y="2791460"/>
            <a:ext cx="491871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拷贝8001文件夹下的redis.conf文件到8007文件夹下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1555" y="3128645"/>
            <a:ext cx="5000625" cy="171450"/>
          </a:xfrm>
          <a:prstGeom prst="rect">
            <a:avLst/>
          </a:prstGeom>
        </p:spPr>
      </p:pic>
      <p:sp>
        <p:nvSpPr>
          <p:cNvPr id="10" name="文本框 9"/>
          <p:cNvSpPr txBox="1"/>
          <p:nvPr/>
        </p:nvSpPr>
        <p:spPr>
          <a:xfrm>
            <a:off x="955675" y="3300095"/>
            <a:ext cx="311848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修改redis.conf配置文件的配置项</a:t>
            </a: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00825" y="1209675"/>
            <a:ext cx="4410075" cy="443865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79031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6.3Redis Cluster集群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669925" y="1038860"/>
            <a:ext cx="326390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5 </a:t>
            </a:r>
            <a:r>
              <a:rPr sz="2400">
                <a:sym typeface="+mn-ea"/>
              </a:rPr>
              <a:t>新增Redis集群节点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855980" y="1499235"/>
            <a:ext cx="2891790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1 </a:t>
            </a:r>
            <a:r>
              <a:rPr sz="1600">
                <a:sym typeface="+mn-ea"/>
              </a:rPr>
              <a:t>启动新增加的Redis节点</a:t>
            </a:r>
          </a:p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启动端口为8007的Redis节点。</a:t>
            </a: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5980" y="2082800"/>
            <a:ext cx="5248275" cy="1076325"/>
          </a:xfrm>
          <a:prstGeom prst="rect">
            <a:avLst/>
          </a:prstGeom>
        </p:spPr>
      </p:pic>
      <p:sp>
        <p:nvSpPr>
          <p:cNvPr id="4" name="文本框 3"/>
          <p:cNvSpPr txBox="1"/>
          <p:nvPr/>
        </p:nvSpPr>
        <p:spPr>
          <a:xfrm>
            <a:off x="765175" y="3159125"/>
            <a:ext cx="5338445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查询Redis节点的进程启动情况，可以看出端口为8007的Redis节点已经启动成功</a:t>
            </a:r>
          </a:p>
        </p:txBody>
      </p:sp>
      <p:pic>
        <p:nvPicPr>
          <p:cNvPr id="167" name="图片 16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55980" y="3742690"/>
            <a:ext cx="5274310" cy="942340"/>
          </a:xfrm>
          <a:prstGeom prst="rect">
            <a:avLst/>
          </a:prstGeom>
        </p:spPr>
      </p:pic>
      <p:sp>
        <p:nvSpPr>
          <p:cNvPr id="12" name="文本框 11"/>
          <p:cNvSpPr txBox="1"/>
          <p:nvPr/>
        </p:nvSpPr>
        <p:spPr>
          <a:xfrm>
            <a:off x="6451600" y="1521460"/>
            <a:ext cx="5327015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这时查看Redis集群的节点信息，会发现并没有端口为8007的Redis节点信息，还需要增加Redis主节点</a:t>
            </a:r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20815" y="2105025"/>
            <a:ext cx="5257800" cy="264795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79031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6.3Redis Cluster集群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669925" y="1038860"/>
            <a:ext cx="326390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5 </a:t>
            </a:r>
            <a:r>
              <a:rPr sz="2400">
                <a:sym typeface="+mn-ea"/>
              </a:rPr>
              <a:t>新增Redis集群节点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855980" y="1499235"/>
            <a:ext cx="4177665" cy="6604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2，增加主节点</a:t>
            </a:r>
          </a:p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Redis集群增加Redis主节点的命令如下所示。</a:t>
            </a: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5980" y="2159635"/>
            <a:ext cx="5153025" cy="190500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855980" y="2350135"/>
            <a:ext cx="5451475" cy="1938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redis-cli --cluster命令参数说明：</a:t>
            </a:r>
          </a:p>
          <a:p>
            <a:pPr lvl="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第一个参数add-node ,	表示添加Redis节点。</a:t>
            </a:r>
          </a:p>
          <a:p>
            <a:pPr lvl="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第二个参数192.168.11.15:8007 , 是增加的Redis主节点。</a:t>
            </a:r>
          </a:p>
          <a:p>
            <a:pPr lvl="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第三个参数192.168.11.15:8001，可以是Redis集群中的任何一个Redis节点。</a:t>
            </a:r>
          </a:p>
        </p:txBody>
      </p:sp>
      <p:sp>
        <p:nvSpPr>
          <p:cNvPr id="7" name="文本框 6"/>
          <p:cNvSpPr txBox="1"/>
          <p:nvPr/>
        </p:nvSpPr>
        <p:spPr>
          <a:xfrm>
            <a:off x="855980" y="4288155"/>
            <a:ext cx="5451475" cy="92202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>
                <a:sym typeface="+mn-ea"/>
              </a:rPr>
              <a:t>输入命令后在响应信息的最后，如果有"[OK] New node added correctly"提示就代表Redis新节点添加成功了。</a:t>
            </a:r>
            <a:endParaRPr lang="zh-CN" altLang="en-US"/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05245" y="1385570"/>
            <a:ext cx="5286375" cy="4086225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79031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6.3Redis Cluster集群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669925" y="1038860"/>
            <a:ext cx="326390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5 </a:t>
            </a:r>
            <a:r>
              <a:rPr sz="2400">
                <a:sym typeface="+mn-ea"/>
              </a:rPr>
              <a:t>新增Redis集群节点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855980" y="1499235"/>
            <a:ext cx="4520565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使用cluster info命令查看Redis集群状态,可以看到已知Redis节点为7个。</a:t>
            </a:r>
          </a:p>
        </p:txBody>
      </p:sp>
      <p:pic>
        <p:nvPicPr>
          <p:cNvPr id="212" name="图片 2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5980" y="2143125"/>
            <a:ext cx="4438650" cy="2247900"/>
          </a:xfrm>
          <a:prstGeom prst="rect">
            <a:avLst/>
          </a:prstGeom>
        </p:spPr>
      </p:pic>
      <p:sp>
        <p:nvSpPr>
          <p:cNvPr id="3" name="文本框 2"/>
          <p:cNvSpPr txBox="1"/>
          <p:nvPr/>
        </p:nvSpPr>
        <p:spPr>
          <a:xfrm>
            <a:off x="1263650" y="4451350"/>
            <a:ext cx="267017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查看Redis Cluster集群信息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5794375" y="1499235"/>
            <a:ext cx="5632450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600">
                <a:sym typeface="+mn-ea"/>
              </a:rPr>
              <a:t>使用cluster nodes命令查看Redis集群信息，可以看到端口为8007的Redis节点状态为master，但是现在没有哈希槽分配到这个Redis节点。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43600" y="2329180"/>
            <a:ext cx="5219700" cy="2838450"/>
          </a:xfrm>
          <a:prstGeom prst="rect">
            <a:avLst/>
          </a:prstGeom>
        </p:spPr>
      </p:pic>
      <p:sp>
        <p:nvSpPr>
          <p:cNvPr id="10" name="文本框 9"/>
          <p:cNvSpPr txBox="1"/>
          <p:nvPr/>
        </p:nvSpPr>
        <p:spPr>
          <a:xfrm>
            <a:off x="535305" y="5241290"/>
            <a:ext cx="508000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200">
                <a:sym typeface="+mn-ea"/>
              </a:rPr>
              <a:t>当Redis集群添加节点成功以后，新增的Redis节点不会有任何数据，因为它还没有分配任何的slot(哈希槽)，我们需要为新节点手工分配哈希槽。</a:t>
            </a:r>
          </a:p>
        </p:txBody>
      </p:sp>
      <p:pic>
        <p:nvPicPr>
          <p:cNvPr id="11" name="图片 10"/>
          <p:cNvPicPr/>
          <p:nvPr/>
        </p:nvPicPr>
        <p:blipFill>
          <a:blip r:embed="rId5"/>
          <a:stretch>
            <a:fillRect/>
          </a:stretch>
        </p:blipFill>
        <p:spPr>
          <a:xfrm>
            <a:off x="671513" y="4994592"/>
            <a:ext cx="390525" cy="257175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101" name="文本框 100"/>
          <p:cNvSpPr txBox="1"/>
          <p:nvPr/>
        </p:nvSpPr>
        <p:spPr>
          <a:xfrm>
            <a:off x="1062355" y="4965700"/>
            <a:ext cx="546735" cy="2755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sz="1200">
                <a:sym typeface="+mn-ea"/>
              </a:rPr>
              <a:t>注意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79031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6.3Redis Cluster集群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669925" y="1038860"/>
            <a:ext cx="326390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5 </a:t>
            </a:r>
            <a:r>
              <a:rPr sz="2400">
                <a:sym typeface="+mn-ea"/>
              </a:rPr>
              <a:t>新增Redis集群节点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855980" y="1499235"/>
            <a:ext cx="289179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3</a:t>
            </a:r>
            <a:r>
              <a:rPr sz="1600">
                <a:sym typeface="+mn-ea"/>
              </a:rPr>
              <a:t>，为Redis主节点分配哈希槽</a:t>
            </a:r>
          </a:p>
        </p:txBody>
      </p:sp>
      <p:sp>
        <p:nvSpPr>
          <p:cNvPr id="101" name="文本框 100"/>
          <p:cNvSpPr txBox="1"/>
          <p:nvPr/>
        </p:nvSpPr>
        <p:spPr>
          <a:xfrm>
            <a:off x="1031875" y="1836420"/>
            <a:ext cx="448056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为Redis主节点手工分配哈希槽的命令如下所示</a:t>
            </a: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37920" y="2173605"/>
            <a:ext cx="3800475" cy="171450"/>
          </a:xfrm>
          <a:prstGeom prst="rect">
            <a:avLst/>
          </a:prstGeom>
        </p:spPr>
      </p:pic>
      <p:sp>
        <p:nvSpPr>
          <p:cNvPr id="4" name="文本框 3"/>
          <p:cNvSpPr txBox="1"/>
          <p:nvPr/>
        </p:nvSpPr>
        <p:spPr>
          <a:xfrm>
            <a:off x="1029335" y="2345055"/>
            <a:ext cx="307086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redis-cli --cluster命令参数说明：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1031875" y="2682240"/>
            <a:ext cx="5403215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第一个参数reshard , 表示为Redis节点手工分配哈希槽。</a:t>
            </a:r>
          </a:p>
          <a:p>
            <a:pPr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第二个参数192.168.11.15:8007 , 是增加的Redis主节点。</a:t>
            </a:r>
          </a:p>
        </p:txBody>
      </p:sp>
      <p:sp>
        <p:nvSpPr>
          <p:cNvPr id="10" name="文本框 9"/>
          <p:cNvSpPr txBox="1"/>
          <p:nvPr/>
        </p:nvSpPr>
        <p:spPr>
          <a:xfrm>
            <a:off x="1076325" y="3528060"/>
            <a:ext cx="245173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分配哈希槽有两种方式：</a:t>
            </a:r>
          </a:p>
        </p:txBody>
      </p:sp>
      <p:sp>
        <p:nvSpPr>
          <p:cNvPr id="11" name="文本框 10"/>
          <p:cNvSpPr txBox="1"/>
          <p:nvPr/>
        </p:nvSpPr>
        <p:spPr>
          <a:xfrm>
            <a:off x="1137920" y="3917950"/>
            <a:ext cx="8831580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方式1、从所有主节点拿出适量的哈希槽分配到目标节点，这里的目标节点是新增加的Redis节点。</a:t>
            </a:r>
          </a:p>
          <a:p>
            <a:pPr lvl="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方式2、在指定的主节点拿出指定数量的哈希槽分配到目标节点。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79031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6.3Redis Cluster集群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669925" y="1038860"/>
            <a:ext cx="326390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5 </a:t>
            </a:r>
            <a:r>
              <a:rPr sz="2400">
                <a:sym typeface="+mn-ea"/>
              </a:rPr>
              <a:t>新增Redis集群节点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850900" y="1499235"/>
            <a:ext cx="8194040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针对这两种分配哈希槽的方式，我们做两个实验。	</a:t>
            </a:r>
          </a:p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olidFill>
                  <a:srgbClr val="0000FF"/>
                </a:solidFill>
                <a:sym typeface="+mn-ea"/>
              </a:rPr>
              <a:t>实验1：</a:t>
            </a:r>
            <a:r>
              <a:rPr lang="en-US" sz="1600">
                <a:sym typeface="+mn-ea"/>
              </a:rPr>
              <a:t>从所有的Redis主节点中拿出1000个哈希槽分配给主节点（192.168.11.15:8007）</a:t>
            </a: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5520" y="2082800"/>
            <a:ext cx="4930775" cy="4534535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6232525" y="2197735"/>
            <a:ext cx="528002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会询问要分多少个槽出来？ 输入 1000，按Enter键继续。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6232525" y="2534920"/>
            <a:ext cx="5622925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分给哪个节点？输入Redis节点(192.168.11.15:8007)的node id(节点)，484b7c18a54a1690e4fda5361023d7d83d529354，按Enter键继续。</a:t>
            </a:r>
          </a:p>
        </p:txBody>
      </p:sp>
      <p:sp>
        <p:nvSpPr>
          <p:cNvPr id="12" name="文本框 11"/>
          <p:cNvSpPr txBox="1"/>
          <p:nvPr/>
        </p:nvSpPr>
        <p:spPr>
          <a:xfrm>
            <a:off x="6232525" y="3364865"/>
            <a:ext cx="5622925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提示从哪些主节点抽取哈希槽到新节点中？ 输入all，表示从所有主节点抽取哈希槽到节点（192.168.11.15:8007），然后按Enter键继续。</a:t>
            </a:r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62700" y="4194810"/>
            <a:ext cx="5219700" cy="1066800"/>
          </a:xfrm>
          <a:prstGeom prst="rect">
            <a:avLst/>
          </a:prstGeom>
        </p:spPr>
      </p:pic>
      <p:sp>
        <p:nvSpPr>
          <p:cNvPr id="14" name="文本框 13"/>
          <p:cNvSpPr txBox="1"/>
          <p:nvPr/>
        </p:nvSpPr>
        <p:spPr>
          <a:xfrm>
            <a:off x="6232525" y="5261610"/>
            <a:ext cx="5622925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然后在返回消息中会有消息提示Do you want to proceed with the proposed reshard plan (yes/no)? 询问我们是否允许这个分配哈希槽的计划，输入yes，然后按Enter键继续。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79031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6.3Redis Cluster集群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669925" y="1038860"/>
            <a:ext cx="326390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5 </a:t>
            </a:r>
            <a:r>
              <a:rPr sz="2400">
                <a:sym typeface="+mn-ea"/>
              </a:rPr>
              <a:t>新增Redis集群节点</a:t>
            </a:r>
          </a:p>
        </p:txBody>
      </p:sp>
      <p:sp>
        <p:nvSpPr>
          <p:cNvPr id="101" name="文本框 100"/>
          <p:cNvSpPr txBox="1"/>
          <p:nvPr/>
        </p:nvSpPr>
        <p:spPr>
          <a:xfrm>
            <a:off x="882015" y="1499235"/>
            <a:ext cx="336550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然后登陆Redis集群，查看集群状态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2015" y="1836420"/>
            <a:ext cx="5276850" cy="3028950"/>
          </a:xfrm>
          <a:prstGeom prst="rect">
            <a:avLst/>
          </a:prstGeom>
        </p:spPr>
      </p:pic>
      <p:sp>
        <p:nvSpPr>
          <p:cNvPr id="3" name="文本框 2"/>
          <p:cNvSpPr txBox="1"/>
          <p:nvPr/>
        </p:nvSpPr>
        <p:spPr>
          <a:xfrm>
            <a:off x="767715" y="4865370"/>
            <a:ext cx="5505450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从以上消息可以看出Redis节点（192.168.11.15:8007）已经有哈希槽了，可以在Redis节点（192.168.11.15:8007）进行读写操作了，并且这个Redis节点是Master(主节点)。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6273165" y="2207895"/>
            <a:ext cx="5298440" cy="13220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Redis节点（192.168.11.15:8007）的哈希槽范围是：从0到332，从5461到5794，从10923到11255, 计算Redis节点分配的插糟：（332 - 0 + 1）+ （5794 - 5461 + 1）+ （11255 - 10923 + 1）= 1000，可以这个新加的Redis 主节点一共分配了 1000个哈希槽。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79031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6.3Redis Cluster集群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669925" y="1038860"/>
            <a:ext cx="326390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5 </a:t>
            </a:r>
            <a:r>
              <a:rPr sz="2400">
                <a:sym typeface="+mn-ea"/>
              </a:rPr>
              <a:t>新增Redis集群节点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831850" y="1499235"/>
            <a:ext cx="10127615" cy="6604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针对这两种分配哈希槽的方式，我们做两个实验。	</a:t>
            </a:r>
          </a:p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olidFill>
                  <a:srgbClr val="0000FF"/>
                </a:solidFill>
                <a:sym typeface="+mn-ea"/>
              </a:rPr>
              <a:t>实验2：</a:t>
            </a:r>
            <a:r>
              <a:rPr lang="en-US" sz="1600">
                <a:sym typeface="+mn-ea"/>
              </a:rPr>
              <a:t>从Redis主节点（192.168.11.15:8002）中拿出500个哈希槽分配给Redis主节点（192.168.11.15:8007）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9320" y="2159635"/>
            <a:ext cx="5267325" cy="3733800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05245" y="2159635"/>
            <a:ext cx="4086225" cy="895350"/>
          </a:xfrm>
          <a:prstGeom prst="rect">
            <a:avLst/>
          </a:prstGeom>
        </p:spPr>
      </p:pic>
      <p:sp>
        <p:nvSpPr>
          <p:cNvPr id="101" name="文本框 100"/>
          <p:cNvSpPr txBox="1"/>
          <p:nvPr/>
        </p:nvSpPr>
        <p:spPr>
          <a:xfrm>
            <a:off x="6405245" y="3058160"/>
            <a:ext cx="523176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会询问要分多少个槽出来？ 输入 500，按Enter键继续。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6405245" y="3395345"/>
            <a:ext cx="5630545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分给哪个节点？输入Redis节点(192.168.11.15:8007)的node id(节点)，484b7c18a54a1690e4fda5361023d7d83d529354，按Enter键继续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6405245" y="4225290"/>
            <a:ext cx="5630545" cy="15684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提示从哪些主节点抽取哈希槽到新节点中？ 输入节点（192.168.11.15:8002）的node id,</a:t>
            </a:r>
          </a:p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12904463a6c7caa958085e008ad0324213883811，表示从指定的节点（192.168.11.15:8002）抽取哈希槽到新增节点（192.168.11.15:8007），然后输入done，然后按Enter键继续。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79031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6.3Redis Cluster集群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669925" y="1038860"/>
            <a:ext cx="326390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5 </a:t>
            </a:r>
            <a:r>
              <a:rPr sz="2400">
                <a:sym typeface="+mn-ea"/>
              </a:rPr>
              <a:t>新增Redis集群节点</a:t>
            </a: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0575" y="1499235"/>
            <a:ext cx="5276850" cy="1257300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669925" y="2756535"/>
            <a:ext cx="5488940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然后在返回消息中会有消息提示Do you want to proceed with the proposed reshard plan (yes/no)? 询问我们是否允许这个分配哈希槽的计划，输入yes，然后按Enter键继续。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669925" y="3586480"/>
            <a:ext cx="335661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然后登陆Redis集群，查看集群状态</a:t>
            </a:r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0575" y="3923665"/>
            <a:ext cx="5286375" cy="2847975"/>
          </a:xfrm>
          <a:prstGeom prst="rect">
            <a:avLst/>
          </a:prstGeom>
        </p:spPr>
      </p:pic>
      <p:sp>
        <p:nvSpPr>
          <p:cNvPr id="11" name="文本框 10"/>
          <p:cNvSpPr txBox="1"/>
          <p:nvPr/>
        </p:nvSpPr>
        <p:spPr>
          <a:xfrm>
            <a:off x="6158865" y="2312670"/>
            <a:ext cx="5850255" cy="3046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    Redis节点（192.168.11.15:8007）的哈希槽范围是：从0到332，从5461到6294，从10923到11255, 计算Redis节点分配的插糟：（332 - 0 + 1）+ （6294 - 5461 + 1）+ （11255 - 10923 + 1）= 1500，可以这个Redis 主节点一共分配了 1500个哈希槽。</a:t>
            </a:r>
          </a:p>
          <a:p>
            <a:pPr lvl="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    至此Redis主节点已经添加完毕了，现在的Redis集群由三个主节点和三个从节点变成了四个主节点和三个从节点，也就是四主三从模式。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主从复制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669925" y="993775"/>
            <a:ext cx="10656570" cy="28613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None/>
            </a:pPr>
            <a:r>
              <a:rPr lang="en-US" sz="2400"/>
              <a:t>    </a:t>
            </a:r>
            <a:r>
              <a:rPr altLang="zh-CN" sz="2400"/>
              <a:t>主从复制也叫主从模式，当用户往Master端写入数据时，通过Redis Sync机制将数据文件发送至Slave，Slave也会通过Redis Sync机制将数据文件发送至Master以确保数据一致，来实现Redis的主从复制。如果Master和Slave之间的链接出现断连现象，Slave可以自动重连Master，但是在连接成功之后，一次完全同步将被自动执行。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669925" y="3920490"/>
            <a:ext cx="10656570" cy="17532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   在主从复制配置后，Master（主节点）可以负责读写服务， Slave（从节点）只负责读服务。Redis 复制在 Master 这一端是非阻塞的，也就是说在和 Slave 同步数据的时候，Master 仍然可以执行客户端的操作命令而不受其影响。</a:t>
            </a:r>
          </a:p>
        </p:txBody>
      </p:sp>
    </p:spTree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79031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6.3Redis Cluster集群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669925" y="1038860"/>
            <a:ext cx="326390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5 </a:t>
            </a:r>
            <a:r>
              <a:rPr sz="2400">
                <a:sym typeface="+mn-ea"/>
              </a:rPr>
              <a:t>新增Redis集群节点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955675" y="1499235"/>
            <a:ext cx="225171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zh-CN" sz="1600">
                <a:sym typeface="+mn-ea"/>
              </a:rPr>
              <a:t>二</a:t>
            </a:r>
            <a:r>
              <a:rPr sz="1600">
                <a:sym typeface="+mn-ea"/>
              </a:rPr>
              <a:t>，增加Redis</a:t>
            </a:r>
            <a:r>
              <a:rPr lang="zh-CN" sz="1600">
                <a:sym typeface="+mn-ea"/>
              </a:rPr>
              <a:t>从</a:t>
            </a:r>
            <a:r>
              <a:rPr sz="1600">
                <a:sym typeface="+mn-ea"/>
              </a:rPr>
              <a:t>节点</a:t>
            </a:r>
          </a:p>
        </p:txBody>
      </p:sp>
      <p:sp>
        <p:nvSpPr>
          <p:cNvPr id="101" name="文本框 100"/>
          <p:cNvSpPr txBox="1"/>
          <p:nvPr/>
        </p:nvSpPr>
        <p:spPr>
          <a:xfrm>
            <a:off x="955675" y="1836420"/>
            <a:ext cx="5137150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zh-CN" sz="1600">
                <a:sym typeface="+mn-ea"/>
              </a:rPr>
              <a:t>新添加一个Redis节点，需要在/usr/local/redis-cluster下创建8008，执行以下操作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6950" y="2419985"/>
            <a:ext cx="2609850" cy="371475"/>
          </a:xfrm>
          <a:prstGeom prst="rect">
            <a:avLst/>
          </a:prstGeom>
        </p:spPr>
      </p:pic>
      <p:sp>
        <p:nvSpPr>
          <p:cNvPr id="3" name="文本框 2"/>
          <p:cNvSpPr txBox="1"/>
          <p:nvPr/>
        </p:nvSpPr>
        <p:spPr>
          <a:xfrm>
            <a:off x="955675" y="2791460"/>
            <a:ext cx="490855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zh-CN" sz="1600">
                <a:sym typeface="+mn-ea"/>
              </a:rPr>
              <a:t>拷贝8001文件夹下的redis.conf文件到8008文件夹下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96950" y="3128645"/>
            <a:ext cx="4905375" cy="200025"/>
          </a:xfrm>
          <a:prstGeom prst="rect">
            <a:avLst/>
          </a:prstGeom>
        </p:spPr>
      </p:pic>
      <p:sp>
        <p:nvSpPr>
          <p:cNvPr id="9" name="文本框 8"/>
          <p:cNvSpPr txBox="1"/>
          <p:nvPr/>
        </p:nvSpPr>
        <p:spPr>
          <a:xfrm>
            <a:off x="914400" y="3328670"/>
            <a:ext cx="277495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zh-CN" sz="1600">
                <a:sym typeface="+mn-ea"/>
              </a:rPr>
              <a:t>修改redis.conf文件的配置项</a:t>
            </a: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67450" y="1038860"/>
            <a:ext cx="4476750" cy="445770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79031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6.3Redis Cluster集群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669925" y="1038860"/>
            <a:ext cx="326390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5 </a:t>
            </a:r>
            <a:r>
              <a:rPr sz="2400">
                <a:sym typeface="+mn-ea"/>
              </a:rPr>
              <a:t>新增Redis集群节点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841375" y="1499235"/>
            <a:ext cx="3091815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zh-CN" sz="1600">
                <a:sym typeface="+mn-ea"/>
              </a:rPr>
              <a:t>1，启动新添加的节点</a:t>
            </a:r>
          </a:p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zh-CN" sz="1600">
                <a:sym typeface="+mn-ea"/>
              </a:rPr>
              <a:t>启动端口为8008的Redis节点。</a:t>
            </a: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1375" y="2082800"/>
            <a:ext cx="4219575" cy="200025"/>
          </a:xfrm>
          <a:prstGeom prst="rect">
            <a:avLst/>
          </a:prstGeom>
        </p:spPr>
      </p:pic>
      <p:sp>
        <p:nvSpPr>
          <p:cNvPr id="8" name="文本框 7"/>
          <p:cNvSpPr txBox="1"/>
          <p:nvPr/>
        </p:nvSpPr>
        <p:spPr>
          <a:xfrm>
            <a:off x="669925" y="2282825"/>
            <a:ext cx="636524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zh-CN" sz="1600">
                <a:sym typeface="+mn-ea"/>
              </a:rPr>
              <a:t>输入 ps -ef | grep redis命令可以看出端口为8008的Redis已经启动了</a:t>
            </a:r>
          </a:p>
        </p:txBody>
      </p:sp>
      <p:pic>
        <p:nvPicPr>
          <p:cNvPr id="213" name="图片 2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1375" y="2620010"/>
            <a:ext cx="5274310" cy="1097280"/>
          </a:xfrm>
          <a:prstGeom prst="rect">
            <a:avLst/>
          </a:prstGeom>
        </p:spPr>
      </p:pic>
      <p:sp>
        <p:nvSpPr>
          <p:cNvPr id="10" name="文本框 9"/>
          <p:cNvSpPr txBox="1"/>
          <p:nvPr/>
        </p:nvSpPr>
        <p:spPr>
          <a:xfrm>
            <a:off x="841375" y="3836035"/>
            <a:ext cx="5537200" cy="1076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zh-CN" sz="1600">
                <a:sym typeface="+mn-ea"/>
              </a:rPr>
              <a:t>2，增加从节点</a:t>
            </a:r>
          </a:p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zh-CN" sz="1600">
                <a:sym typeface="+mn-ea"/>
              </a:rPr>
              <a:t>本实验配置Redis节点（192.168.11.15:8008）为主节点（192.168.11.15:8007）的从节点，添加节点（192.168.11.15:8008）到Redis集群中去并查看集群状态。</a:t>
            </a:r>
          </a:p>
        </p:txBody>
      </p:sp>
      <p:pic>
        <p:nvPicPr>
          <p:cNvPr id="214" name="图片 21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30670" y="2819718"/>
            <a:ext cx="5274310" cy="2888615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79031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6.3Redis Cluster集群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669925" y="1038860"/>
            <a:ext cx="326390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5 </a:t>
            </a:r>
            <a:r>
              <a:rPr sz="2400">
                <a:sym typeface="+mn-ea"/>
              </a:rPr>
              <a:t>新增Redis集群节点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842010" y="1499235"/>
            <a:ext cx="309181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zh-CN" sz="1600">
                <a:sym typeface="+mn-ea"/>
              </a:rPr>
              <a:t>在查看集群的Redis节点状态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2010" y="1836420"/>
            <a:ext cx="5286375" cy="3371850"/>
          </a:xfrm>
          <a:prstGeom prst="rect">
            <a:avLst/>
          </a:prstGeom>
        </p:spPr>
      </p:pic>
      <p:sp>
        <p:nvSpPr>
          <p:cNvPr id="101" name="文本框 100"/>
          <p:cNvSpPr txBox="1"/>
          <p:nvPr/>
        </p:nvSpPr>
        <p:spPr>
          <a:xfrm>
            <a:off x="6480175" y="1364615"/>
            <a:ext cx="5384165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altLang="zh-CN" sz="1600">
                <a:sym typeface="+mn-ea"/>
              </a:rPr>
              <a:t>    </a:t>
            </a:r>
            <a:r>
              <a:rPr lang="zh-CN" sz="1600">
                <a:sym typeface="+mn-ea"/>
              </a:rPr>
              <a:t>可以看到端口为8008的节点是一个Master节点，没有被分配任何的hash槽，需要执行CLUSTER REPLICATE 集群命令来指定当前节点(从节点)的主节点id为哪个。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6480175" y="2194560"/>
            <a:ext cx="542290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altLang="zh-CN" sz="1600">
                <a:sym typeface="+mn-ea"/>
              </a:rPr>
              <a:t>首先，使用Redis客户端连接到新添加的端口为8008的节点。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86220" y="2531745"/>
            <a:ext cx="4638675" cy="200025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6356985" y="2731770"/>
            <a:ext cx="5546090" cy="13220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altLang="zh-CN" sz="1600">
                <a:sym typeface="+mn-ea"/>
              </a:rPr>
              <a:t>     然后，执行CLUSTER  REPLICATE集群命令把当前端口为8008的从节点(Slave)指定到一个主节点(Master)下，也就是指定当前从节点的主节点id。本实验将端口为8008的从节点指定到端口为8007的Redis节点上，端口为8007的节点id是484b7c18a54a1690e4fda5361023d7d83d529354。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86220" y="4053840"/>
            <a:ext cx="3181350" cy="542925"/>
          </a:xfrm>
          <a:prstGeom prst="rect">
            <a:avLst/>
          </a:prstGeom>
        </p:spPr>
      </p:pic>
      <p:pic>
        <p:nvPicPr>
          <p:cNvPr id="216" name="图片 21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86220" y="5078095"/>
            <a:ext cx="4815840" cy="220980"/>
          </a:xfrm>
          <a:prstGeom prst="rect">
            <a:avLst/>
          </a:prstGeom>
        </p:spPr>
      </p:pic>
      <p:sp>
        <p:nvSpPr>
          <p:cNvPr id="11" name="文本框 10"/>
          <p:cNvSpPr txBox="1"/>
          <p:nvPr/>
        </p:nvSpPr>
        <p:spPr>
          <a:xfrm>
            <a:off x="6718300" y="4740910"/>
            <a:ext cx="219392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altLang="zh-CN" sz="1600">
                <a:sym typeface="+mn-ea"/>
              </a:rPr>
              <a:t>Redis集群添加从节点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79031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6.3Redis Cluster集群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669925" y="1038860"/>
            <a:ext cx="326390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5 </a:t>
            </a:r>
            <a:r>
              <a:rPr sz="2400">
                <a:sym typeface="+mn-ea"/>
              </a:rPr>
              <a:t>新增Redis集群节点</a:t>
            </a:r>
          </a:p>
        </p:txBody>
      </p:sp>
      <p:sp>
        <p:nvSpPr>
          <p:cNvPr id="7" name="文本框 6"/>
          <p:cNvSpPr txBox="1"/>
          <p:nvPr/>
        </p:nvSpPr>
        <p:spPr>
          <a:xfrm>
            <a:off x="812800" y="1499235"/>
            <a:ext cx="678434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altLang="zh-CN" sz="1600">
                <a:sym typeface="+mn-ea"/>
              </a:rPr>
              <a:t>再查看集群的Redis节点状态，会发现Redis节点的插槽范围发生了变化。</a:t>
            </a: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8845" y="1836420"/>
            <a:ext cx="5248275" cy="3295650"/>
          </a:xfrm>
          <a:prstGeom prst="rect">
            <a:avLst/>
          </a:prstGeom>
        </p:spPr>
      </p:pic>
      <p:sp>
        <p:nvSpPr>
          <p:cNvPr id="10" name="文本框 9"/>
          <p:cNvSpPr txBox="1"/>
          <p:nvPr/>
        </p:nvSpPr>
        <p:spPr>
          <a:xfrm>
            <a:off x="812800" y="5132070"/>
            <a:ext cx="6784340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altLang="zh-CN" sz="1600">
                <a:sym typeface="+mn-ea"/>
              </a:rPr>
              <a:t>至此Redis集群扩展实验已经实现，搭建了一个四主四从的Redis集群，下节进行删除Redis集群节点的实验。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79031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6.3Redis Cluster集群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669925" y="1038860"/>
            <a:ext cx="326390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6 </a:t>
            </a:r>
            <a:r>
              <a:rPr sz="2400">
                <a:sym typeface="+mn-ea"/>
              </a:rPr>
              <a:t>删除Redis集群节点</a:t>
            </a:r>
          </a:p>
        </p:txBody>
      </p:sp>
      <p:sp>
        <p:nvSpPr>
          <p:cNvPr id="7" name="文本框 6"/>
          <p:cNvSpPr txBox="1"/>
          <p:nvPr/>
        </p:nvSpPr>
        <p:spPr>
          <a:xfrm>
            <a:off x="822325" y="1499235"/>
            <a:ext cx="5327650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altLang="zh-CN" sz="1600">
                <a:sym typeface="+mn-ea"/>
              </a:rPr>
              <a:t>本节进行删除Redis集群节点实验，删除Redis集群中新增两个Redis节点，一个Master主节点(端口号为8007)和一个Slave从节点(端口号为8008)。</a:t>
            </a:r>
          </a:p>
        </p:txBody>
      </p:sp>
      <p:sp>
        <p:nvSpPr>
          <p:cNvPr id="101" name="文本框 100"/>
          <p:cNvSpPr txBox="1"/>
          <p:nvPr/>
        </p:nvSpPr>
        <p:spPr>
          <a:xfrm>
            <a:off x="822325" y="2329180"/>
            <a:ext cx="5328285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altLang="zh-CN" sz="1600">
                <a:solidFill>
                  <a:srgbClr val="0000FF"/>
                </a:solidFill>
                <a:sym typeface="+mn-ea"/>
              </a:rPr>
              <a:t>1，删除从节点</a:t>
            </a:r>
            <a:endParaRPr lang="en-US" altLang="zh-CN" sz="1600">
              <a:sym typeface="+mn-ea"/>
            </a:endParaRPr>
          </a:p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altLang="zh-CN" sz="1600">
                <a:sym typeface="+mn-ea"/>
              </a:rPr>
              <a:t>删除Redis集群中的从节点(Slave)使用redis-cli --cluster del-node命令，完整命令如下。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8845" y="3159125"/>
            <a:ext cx="3876675" cy="190500"/>
          </a:xfrm>
          <a:prstGeom prst="rect">
            <a:avLst/>
          </a:prstGeom>
        </p:spPr>
      </p:pic>
      <p:sp>
        <p:nvSpPr>
          <p:cNvPr id="3" name="文本框 2"/>
          <p:cNvSpPr txBox="1"/>
          <p:nvPr/>
        </p:nvSpPr>
        <p:spPr>
          <a:xfrm>
            <a:off x="669925" y="3349625"/>
            <a:ext cx="5718810" cy="1076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altLang="zh-CN" sz="1600">
                <a:sym typeface="+mn-ea"/>
              </a:rPr>
              <a:t>删除从节点(192.168.11.15:8008)，需要指定删除的从节点ip和端口，以及节点id,要删除的从节点(192.168.11.15:8008)的id是7ef80fd1ef9a403e39d42cfefa56404f9eb6be73 。删除从节点的完整命令如下所示。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18845" y="4425950"/>
            <a:ext cx="3857625" cy="361950"/>
          </a:xfrm>
          <a:prstGeom prst="rect">
            <a:avLst/>
          </a:prstGeom>
        </p:spPr>
      </p:pic>
      <p:pic>
        <p:nvPicPr>
          <p:cNvPr id="79" name="图片 7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18845" y="4887595"/>
            <a:ext cx="5274310" cy="350520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6621780" y="1162050"/>
            <a:ext cx="348043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altLang="zh-CN" sz="1600">
                <a:sym typeface="+mn-ea"/>
              </a:rPr>
              <a:t>然后登陆Redis集群，查看集群状态。</a:t>
            </a: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96075" y="1499235"/>
            <a:ext cx="5314950" cy="3019425"/>
          </a:xfrm>
          <a:prstGeom prst="rect">
            <a:avLst/>
          </a:prstGeom>
        </p:spPr>
      </p:pic>
      <p:sp>
        <p:nvSpPr>
          <p:cNvPr id="9" name="文本框 8"/>
          <p:cNvSpPr txBox="1"/>
          <p:nvPr/>
        </p:nvSpPr>
        <p:spPr>
          <a:xfrm>
            <a:off x="6621780" y="4618990"/>
            <a:ext cx="5388610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altLang="zh-CN" sz="1600">
                <a:sym typeface="+mn-ea"/>
              </a:rPr>
              <a:t>从Redis的集群信息可以看出从节点(192.168.11.15:8008)已经从Redis集群中移除，该节点的Redis服务也已被停止。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79031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6.3Redis Cluster集群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669925" y="1038860"/>
            <a:ext cx="326390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6 </a:t>
            </a:r>
            <a:r>
              <a:rPr sz="2400">
                <a:sym typeface="+mn-ea"/>
              </a:rPr>
              <a:t>删除Redis集群节点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860425" y="1499235"/>
            <a:ext cx="16814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en-US" altLang="zh-CN">
                <a:solidFill>
                  <a:srgbClr val="0000FF"/>
                </a:solidFill>
                <a:sym typeface="+mn-ea"/>
              </a:rPr>
              <a:t>2，删除</a:t>
            </a:r>
            <a:r>
              <a:rPr lang="zh-CN" altLang="en-US">
                <a:solidFill>
                  <a:srgbClr val="0000FF"/>
                </a:solidFill>
                <a:sym typeface="+mn-ea"/>
              </a:rPr>
              <a:t>主</a:t>
            </a:r>
            <a:r>
              <a:rPr lang="en-US" altLang="zh-CN">
                <a:solidFill>
                  <a:srgbClr val="0000FF"/>
                </a:solidFill>
                <a:sym typeface="+mn-ea"/>
              </a:rPr>
              <a:t>节点</a:t>
            </a:r>
            <a:endParaRPr lang="zh-CN" altLang="en-US"/>
          </a:p>
        </p:txBody>
      </p:sp>
      <p:sp>
        <p:nvSpPr>
          <p:cNvPr id="10" name="文本框 9"/>
          <p:cNvSpPr txBox="1"/>
          <p:nvPr/>
        </p:nvSpPr>
        <p:spPr>
          <a:xfrm>
            <a:off x="860425" y="1867218"/>
            <a:ext cx="5080000" cy="13220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altLang="zh-CN" sz="1600">
                <a:sym typeface="+mn-ea"/>
              </a:rPr>
              <a:t>    删除之前加入的Master主节点(192.168.11.15:8007)，这个步骤相对比较麻烦一些，因为主节点的里面是有分配了hash槽的，所以必须先把要删除的主节点里的hash槽放入到其他的可用主节点中去，然后再进行移除节点操作，不然会出现数据丢失问题。</a:t>
            </a:r>
          </a:p>
        </p:txBody>
      </p:sp>
      <p:sp>
        <p:nvSpPr>
          <p:cNvPr id="11" name="文本框 10"/>
          <p:cNvSpPr txBox="1"/>
          <p:nvPr/>
        </p:nvSpPr>
        <p:spPr>
          <a:xfrm>
            <a:off x="860425" y="3189605"/>
            <a:ext cx="5080635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altLang="zh-CN" sz="1600">
                <a:sym typeface="+mn-ea"/>
              </a:rPr>
              <a:t>    删除主节点(192.168.11.15:8007)，要先将主节点的哈希槽分配到其他主节点上。</a:t>
            </a: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45860" y="1152525"/>
            <a:ext cx="5267325" cy="4076700"/>
          </a:xfrm>
          <a:prstGeom prst="rect">
            <a:avLst/>
          </a:prstGeom>
        </p:spPr>
      </p:pic>
      <p:pic>
        <p:nvPicPr>
          <p:cNvPr id="13" name="图片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45860" y="5334000"/>
            <a:ext cx="4248150" cy="72390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379031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6.3Redis Cluster集群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669925" y="1038860"/>
            <a:ext cx="326390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6 </a:t>
            </a:r>
            <a:r>
              <a:rPr sz="2400">
                <a:sym typeface="+mn-ea"/>
              </a:rPr>
              <a:t>删除Redis集群节点</a:t>
            </a:r>
          </a:p>
        </p:txBody>
      </p:sp>
      <p:sp>
        <p:nvSpPr>
          <p:cNvPr id="101" name="文本框 100"/>
          <p:cNvSpPr txBox="1"/>
          <p:nvPr/>
        </p:nvSpPr>
        <p:spPr>
          <a:xfrm>
            <a:off x="841375" y="1498918"/>
            <a:ext cx="5080000" cy="181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altLang="zh-CN" sz="1600">
                <a:sym typeface="+mn-ea"/>
              </a:rPr>
              <a:t>    以上信息在询问要将多少个哈希槽从Redis集群的主节点(192.168.11.15:8007)上移走，因为主节点8007上刚分配了1500 个哈希槽，所以我们这里输入1500，还要输入接收的主节点(192.168.11.15:8002)的节点id，接收的主节点(192.168.11.15:8002)的节点id是12904463a6c7caa958085e008ad0324213883811，最后输入all然后按回车键。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1375" y="3314065"/>
            <a:ext cx="5267325" cy="1057275"/>
          </a:xfrm>
          <a:prstGeom prst="rect">
            <a:avLst/>
          </a:prstGeom>
        </p:spPr>
      </p:pic>
      <p:sp>
        <p:nvSpPr>
          <p:cNvPr id="3" name="文本框 2"/>
          <p:cNvSpPr txBox="1"/>
          <p:nvPr/>
        </p:nvSpPr>
        <p:spPr>
          <a:xfrm>
            <a:off x="755650" y="4371340"/>
            <a:ext cx="5241925" cy="15684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altLang="zh-CN" sz="1600">
                <a:sym typeface="+mn-ea"/>
              </a:rPr>
              <a:t>    然后在返回消息中会有消息提示Do you want to proceed with the proposed reshard plan (yes/no)? 询问我们是否允许这个分配哈希槽的计划，输入yes，然后按Enter键继续。</a:t>
            </a:r>
          </a:p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altLang="zh-CN" sz="1600">
                <a:sym typeface="+mn-ea"/>
              </a:rPr>
              <a:t>    给主节点（192.168.11.15:8007）分配哈希槽到其他主节点后，就可以删除主节点（192.168.11.15:8007）了。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24600" y="1038860"/>
            <a:ext cx="5257800" cy="1057275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6324600" y="2115185"/>
            <a:ext cx="5433060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altLang="zh-CN" sz="1600">
                <a:sym typeface="+mn-ea"/>
              </a:rPr>
              <a:t>查看Redis集群信息，可以看到已经没有 192.168.11.15:8007 这个主节点了。</a:t>
            </a: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24600" y="2717800"/>
            <a:ext cx="5314950" cy="2657475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6242050" y="5454015"/>
            <a:ext cx="5514975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altLang="zh-CN" sz="1600">
                <a:sym typeface="+mn-ea"/>
              </a:rPr>
              <a:t>从Redis的集群信息可以看出主节点(192.168.11.15:8007)已经从Redis集群中移除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4895761" y="2739021"/>
            <a:ext cx="6536871" cy="2390427"/>
          </a:xfrm>
        </p:spPr>
        <p:txBody>
          <a:bodyPr>
            <a:normAutofit/>
          </a:bodyPr>
          <a:lstStyle/>
          <a:p>
            <a:r>
              <a:rPr lang="zh-CN" altLang="en-US" sz="6600" dirty="0"/>
              <a:t>学 习 进 步 ！</a:t>
            </a:r>
            <a:endParaRPr lang="zh-CN" altLang="en-US" sz="4000" dirty="0"/>
          </a:p>
        </p:txBody>
      </p:sp>
      <p:sp>
        <p:nvSpPr>
          <p:cNvPr id="8" name="任意多边形: 形状 7"/>
          <p:cNvSpPr/>
          <p:nvPr/>
        </p:nvSpPr>
        <p:spPr>
          <a:xfrm>
            <a:off x="669925" y="2344255"/>
            <a:ext cx="552196" cy="3896208"/>
          </a:xfrm>
          <a:custGeom>
            <a:avLst/>
            <a:gdLst>
              <a:gd name="connsiteX0" fmla="*/ 438280 w 513703"/>
              <a:gd name="connsiteY0" fmla="*/ 3473760 h 3624606"/>
              <a:gd name="connsiteX1" fmla="*/ 513703 w 513703"/>
              <a:gd name="connsiteY1" fmla="*/ 3549183 h 3624606"/>
              <a:gd name="connsiteX2" fmla="*/ 438280 w 513703"/>
              <a:gd name="connsiteY2" fmla="*/ 3624606 h 3624606"/>
              <a:gd name="connsiteX3" fmla="*/ 362857 w 513703"/>
              <a:gd name="connsiteY3" fmla="*/ 3549183 h 3624606"/>
              <a:gd name="connsiteX4" fmla="*/ 438280 w 513703"/>
              <a:gd name="connsiteY4" fmla="*/ 3473760 h 3624606"/>
              <a:gd name="connsiteX5" fmla="*/ 75423 w 513703"/>
              <a:gd name="connsiteY5" fmla="*/ 3473760 h 3624606"/>
              <a:gd name="connsiteX6" fmla="*/ 150846 w 513703"/>
              <a:gd name="connsiteY6" fmla="*/ 3549183 h 3624606"/>
              <a:gd name="connsiteX7" fmla="*/ 75423 w 513703"/>
              <a:gd name="connsiteY7" fmla="*/ 3624606 h 3624606"/>
              <a:gd name="connsiteX8" fmla="*/ 0 w 513703"/>
              <a:gd name="connsiteY8" fmla="*/ 3549183 h 3624606"/>
              <a:gd name="connsiteX9" fmla="*/ 75423 w 513703"/>
              <a:gd name="connsiteY9" fmla="*/ 3473760 h 3624606"/>
              <a:gd name="connsiteX10" fmla="*/ 438280 w 513703"/>
              <a:gd name="connsiteY10" fmla="*/ 3126882 h 3624606"/>
              <a:gd name="connsiteX11" fmla="*/ 513703 w 513703"/>
              <a:gd name="connsiteY11" fmla="*/ 3202305 h 3624606"/>
              <a:gd name="connsiteX12" fmla="*/ 438280 w 513703"/>
              <a:gd name="connsiteY12" fmla="*/ 3277728 h 3624606"/>
              <a:gd name="connsiteX13" fmla="*/ 362857 w 513703"/>
              <a:gd name="connsiteY13" fmla="*/ 3202305 h 3624606"/>
              <a:gd name="connsiteX14" fmla="*/ 438280 w 513703"/>
              <a:gd name="connsiteY14" fmla="*/ 3126882 h 3624606"/>
              <a:gd name="connsiteX15" fmla="*/ 75423 w 513703"/>
              <a:gd name="connsiteY15" fmla="*/ 3126882 h 3624606"/>
              <a:gd name="connsiteX16" fmla="*/ 150846 w 513703"/>
              <a:gd name="connsiteY16" fmla="*/ 3202305 h 3624606"/>
              <a:gd name="connsiteX17" fmla="*/ 75423 w 513703"/>
              <a:gd name="connsiteY17" fmla="*/ 3277728 h 3624606"/>
              <a:gd name="connsiteX18" fmla="*/ 0 w 513703"/>
              <a:gd name="connsiteY18" fmla="*/ 3202305 h 3624606"/>
              <a:gd name="connsiteX19" fmla="*/ 75423 w 513703"/>
              <a:gd name="connsiteY19" fmla="*/ 3126882 h 3624606"/>
              <a:gd name="connsiteX20" fmla="*/ 438280 w 513703"/>
              <a:gd name="connsiteY20" fmla="*/ 2780004 h 3624606"/>
              <a:gd name="connsiteX21" fmla="*/ 513703 w 513703"/>
              <a:gd name="connsiteY21" fmla="*/ 2855427 h 3624606"/>
              <a:gd name="connsiteX22" fmla="*/ 438280 w 513703"/>
              <a:gd name="connsiteY22" fmla="*/ 2930850 h 3624606"/>
              <a:gd name="connsiteX23" fmla="*/ 362857 w 513703"/>
              <a:gd name="connsiteY23" fmla="*/ 2855427 h 3624606"/>
              <a:gd name="connsiteX24" fmla="*/ 438280 w 513703"/>
              <a:gd name="connsiteY24" fmla="*/ 2780004 h 3624606"/>
              <a:gd name="connsiteX25" fmla="*/ 75423 w 513703"/>
              <a:gd name="connsiteY25" fmla="*/ 2780004 h 3624606"/>
              <a:gd name="connsiteX26" fmla="*/ 150846 w 513703"/>
              <a:gd name="connsiteY26" fmla="*/ 2855427 h 3624606"/>
              <a:gd name="connsiteX27" fmla="*/ 75423 w 513703"/>
              <a:gd name="connsiteY27" fmla="*/ 2930850 h 3624606"/>
              <a:gd name="connsiteX28" fmla="*/ 0 w 513703"/>
              <a:gd name="connsiteY28" fmla="*/ 2855427 h 3624606"/>
              <a:gd name="connsiteX29" fmla="*/ 75423 w 513703"/>
              <a:gd name="connsiteY29" fmla="*/ 2780004 h 3624606"/>
              <a:gd name="connsiteX30" fmla="*/ 438280 w 513703"/>
              <a:gd name="connsiteY30" fmla="*/ 2433126 h 3624606"/>
              <a:gd name="connsiteX31" fmla="*/ 513703 w 513703"/>
              <a:gd name="connsiteY31" fmla="*/ 2508549 h 3624606"/>
              <a:gd name="connsiteX32" fmla="*/ 438280 w 513703"/>
              <a:gd name="connsiteY32" fmla="*/ 2583972 h 3624606"/>
              <a:gd name="connsiteX33" fmla="*/ 362857 w 513703"/>
              <a:gd name="connsiteY33" fmla="*/ 2508549 h 3624606"/>
              <a:gd name="connsiteX34" fmla="*/ 438280 w 513703"/>
              <a:gd name="connsiteY34" fmla="*/ 2433126 h 3624606"/>
              <a:gd name="connsiteX35" fmla="*/ 75423 w 513703"/>
              <a:gd name="connsiteY35" fmla="*/ 2433126 h 3624606"/>
              <a:gd name="connsiteX36" fmla="*/ 150846 w 513703"/>
              <a:gd name="connsiteY36" fmla="*/ 2508549 h 3624606"/>
              <a:gd name="connsiteX37" fmla="*/ 75423 w 513703"/>
              <a:gd name="connsiteY37" fmla="*/ 2583972 h 3624606"/>
              <a:gd name="connsiteX38" fmla="*/ 0 w 513703"/>
              <a:gd name="connsiteY38" fmla="*/ 2508549 h 3624606"/>
              <a:gd name="connsiteX39" fmla="*/ 75423 w 513703"/>
              <a:gd name="connsiteY39" fmla="*/ 2433126 h 3624606"/>
              <a:gd name="connsiteX40" fmla="*/ 438280 w 513703"/>
              <a:gd name="connsiteY40" fmla="*/ 2086248 h 3624606"/>
              <a:gd name="connsiteX41" fmla="*/ 513703 w 513703"/>
              <a:gd name="connsiteY41" fmla="*/ 2161671 h 3624606"/>
              <a:gd name="connsiteX42" fmla="*/ 438280 w 513703"/>
              <a:gd name="connsiteY42" fmla="*/ 2237094 h 3624606"/>
              <a:gd name="connsiteX43" fmla="*/ 362857 w 513703"/>
              <a:gd name="connsiteY43" fmla="*/ 2161671 h 3624606"/>
              <a:gd name="connsiteX44" fmla="*/ 438280 w 513703"/>
              <a:gd name="connsiteY44" fmla="*/ 2086248 h 3624606"/>
              <a:gd name="connsiteX45" fmla="*/ 75423 w 513703"/>
              <a:gd name="connsiteY45" fmla="*/ 2086248 h 3624606"/>
              <a:gd name="connsiteX46" fmla="*/ 150846 w 513703"/>
              <a:gd name="connsiteY46" fmla="*/ 2161671 h 3624606"/>
              <a:gd name="connsiteX47" fmla="*/ 75423 w 513703"/>
              <a:gd name="connsiteY47" fmla="*/ 2237094 h 3624606"/>
              <a:gd name="connsiteX48" fmla="*/ 0 w 513703"/>
              <a:gd name="connsiteY48" fmla="*/ 2161671 h 3624606"/>
              <a:gd name="connsiteX49" fmla="*/ 75423 w 513703"/>
              <a:gd name="connsiteY49" fmla="*/ 2086248 h 3624606"/>
              <a:gd name="connsiteX50" fmla="*/ 438280 w 513703"/>
              <a:gd name="connsiteY50" fmla="*/ 1734390 h 3624606"/>
              <a:gd name="connsiteX51" fmla="*/ 513703 w 513703"/>
              <a:gd name="connsiteY51" fmla="*/ 1809813 h 3624606"/>
              <a:gd name="connsiteX52" fmla="*/ 513200 w 513703"/>
              <a:gd name="connsiteY52" fmla="*/ 1812303 h 3624606"/>
              <a:gd name="connsiteX53" fmla="*/ 513703 w 513703"/>
              <a:gd name="connsiteY53" fmla="*/ 1814793 h 3624606"/>
              <a:gd name="connsiteX54" fmla="*/ 438280 w 513703"/>
              <a:gd name="connsiteY54" fmla="*/ 1890216 h 3624606"/>
              <a:gd name="connsiteX55" fmla="*/ 362857 w 513703"/>
              <a:gd name="connsiteY55" fmla="*/ 1814793 h 3624606"/>
              <a:gd name="connsiteX56" fmla="*/ 363360 w 513703"/>
              <a:gd name="connsiteY56" fmla="*/ 1812303 h 3624606"/>
              <a:gd name="connsiteX57" fmla="*/ 362857 w 513703"/>
              <a:gd name="connsiteY57" fmla="*/ 1809813 h 3624606"/>
              <a:gd name="connsiteX58" fmla="*/ 438280 w 513703"/>
              <a:gd name="connsiteY58" fmla="*/ 1734390 h 3624606"/>
              <a:gd name="connsiteX59" fmla="*/ 75423 w 513703"/>
              <a:gd name="connsiteY59" fmla="*/ 1734390 h 3624606"/>
              <a:gd name="connsiteX60" fmla="*/ 150846 w 513703"/>
              <a:gd name="connsiteY60" fmla="*/ 1809813 h 3624606"/>
              <a:gd name="connsiteX61" fmla="*/ 150343 w 513703"/>
              <a:gd name="connsiteY61" fmla="*/ 1812303 h 3624606"/>
              <a:gd name="connsiteX62" fmla="*/ 150846 w 513703"/>
              <a:gd name="connsiteY62" fmla="*/ 1814793 h 3624606"/>
              <a:gd name="connsiteX63" fmla="*/ 75423 w 513703"/>
              <a:gd name="connsiteY63" fmla="*/ 1890216 h 3624606"/>
              <a:gd name="connsiteX64" fmla="*/ 0 w 513703"/>
              <a:gd name="connsiteY64" fmla="*/ 1814793 h 3624606"/>
              <a:gd name="connsiteX65" fmla="*/ 503 w 513703"/>
              <a:gd name="connsiteY65" fmla="*/ 1812303 h 3624606"/>
              <a:gd name="connsiteX66" fmla="*/ 0 w 513703"/>
              <a:gd name="connsiteY66" fmla="*/ 1809813 h 3624606"/>
              <a:gd name="connsiteX67" fmla="*/ 75423 w 513703"/>
              <a:gd name="connsiteY67" fmla="*/ 1734390 h 3624606"/>
              <a:gd name="connsiteX68" fmla="*/ 438280 w 513703"/>
              <a:gd name="connsiteY68" fmla="*/ 1387512 h 3624606"/>
              <a:gd name="connsiteX69" fmla="*/ 513703 w 513703"/>
              <a:gd name="connsiteY69" fmla="*/ 1462935 h 3624606"/>
              <a:gd name="connsiteX70" fmla="*/ 438280 w 513703"/>
              <a:gd name="connsiteY70" fmla="*/ 1538358 h 3624606"/>
              <a:gd name="connsiteX71" fmla="*/ 362857 w 513703"/>
              <a:gd name="connsiteY71" fmla="*/ 1462935 h 3624606"/>
              <a:gd name="connsiteX72" fmla="*/ 438280 w 513703"/>
              <a:gd name="connsiteY72" fmla="*/ 1387512 h 3624606"/>
              <a:gd name="connsiteX73" fmla="*/ 75423 w 513703"/>
              <a:gd name="connsiteY73" fmla="*/ 1387512 h 3624606"/>
              <a:gd name="connsiteX74" fmla="*/ 150846 w 513703"/>
              <a:gd name="connsiteY74" fmla="*/ 1462935 h 3624606"/>
              <a:gd name="connsiteX75" fmla="*/ 75423 w 513703"/>
              <a:gd name="connsiteY75" fmla="*/ 1538358 h 3624606"/>
              <a:gd name="connsiteX76" fmla="*/ 0 w 513703"/>
              <a:gd name="connsiteY76" fmla="*/ 1462935 h 3624606"/>
              <a:gd name="connsiteX77" fmla="*/ 75423 w 513703"/>
              <a:gd name="connsiteY77" fmla="*/ 1387512 h 3624606"/>
              <a:gd name="connsiteX78" fmla="*/ 75423 w 513703"/>
              <a:gd name="connsiteY78" fmla="*/ 1040634 h 3624606"/>
              <a:gd name="connsiteX79" fmla="*/ 150846 w 513703"/>
              <a:gd name="connsiteY79" fmla="*/ 1116057 h 3624606"/>
              <a:gd name="connsiteX80" fmla="*/ 75423 w 513703"/>
              <a:gd name="connsiteY80" fmla="*/ 1191480 h 3624606"/>
              <a:gd name="connsiteX81" fmla="*/ 0 w 513703"/>
              <a:gd name="connsiteY81" fmla="*/ 1116057 h 3624606"/>
              <a:gd name="connsiteX82" fmla="*/ 75423 w 513703"/>
              <a:gd name="connsiteY82" fmla="*/ 1040634 h 3624606"/>
              <a:gd name="connsiteX83" fmla="*/ 438280 w 513703"/>
              <a:gd name="connsiteY83" fmla="*/ 1040634 h 3624606"/>
              <a:gd name="connsiteX84" fmla="*/ 513703 w 513703"/>
              <a:gd name="connsiteY84" fmla="*/ 1116057 h 3624606"/>
              <a:gd name="connsiteX85" fmla="*/ 438280 w 513703"/>
              <a:gd name="connsiteY85" fmla="*/ 1191480 h 3624606"/>
              <a:gd name="connsiteX86" fmla="*/ 362857 w 513703"/>
              <a:gd name="connsiteY86" fmla="*/ 1116057 h 3624606"/>
              <a:gd name="connsiteX87" fmla="*/ 438280 w 513703"/>
              <a:gd name="connsiteY87" fmla="*/ 1040634 h 3624606"/>
              <a:gd name="connsiteX88" fmla="*/ 438280 w 513703"/>
              <a:gd name="connsiteY88" fmla="*/ 693756 h 3624606"/>
              <a:gd name="connsiteX89" fmla="*/ 513703 w 513703"/>
              <a:gd name="connsiteY89" fmla="*/ 769179 h 3624606"/>
              <a:gd name="connsiteX90" fmla="*/ 438280 w 513703"/>
              <a:gd name="connsiteY90" fmla="*/ 844602 h 3624606"/>
              <a:gd name="connsiteX91" fmla="*/ 362857 w 513703"/>
              <a:gd name="connsiteY91" fmla="*/ 769179 h 3624606"/>
              <a:gd name="connsiteX92" fmla="*/ 438280 w 513703"/>
              <a:gd name="connsiteY92" fmla="*/ 693756 h 3624606"/>
              <a:gd name="connsiteX93" fmla="*/ 75423 w 513703"/>
              <a:gd name="connsiteY93" fmla="*/ 693756 h 3624606"/>
              <a:gd name="connsiteX94" fmla="*/ 150846 w 513703"/>
              <a:gd name="connsiteY94" fmla="*/ 769179 h 3624606"/>
              <a:gd name="connsiteX95" fmla="*/ 75423 w 513703"/>
              <a:gd name="connsiteY95" fmla="*/ 844602 h 3624606"/>
              <a:gd name="connsiteX96" fmla="*/ 0 w 513703"/>
              <a:gd name="connsiteY96" fmla="*/ 769179 h 3624606"/>
              <a:gd name="connsiteX97" fmla="*/ 75423 w 513703"/>
              <a:gd name="connsiteY97" fmla="*/ 693756 h 3624606"/>
              <a:gd name="connsiteX98" fmla="*/ 75423 w 513703"/>
              <a:gd name="connsiteY98" fmla="*/ 346879 h 3624606"/>
              <a:gd name="connsiteX99" fmla="*/ 150846 w 513703"/>
              <a:gd name="connsiteY99" fmla="*/ 422302 h 3624606"/>
              <a:gd name="connsiteX100" fmla="*/ 75423 w 513703"/>
              <a:gd name="connsiteY100" fmla="*/ 497724 h 3624606"/>
              <a:gd name="connsiteX101" fmla="*/ 0 w 513703"/>
              <a:gd name="connsiteY101" fmla="*/ 422302 h 3624606"/>
              <a:gd name="connsiteX102" fmla="*/ 75423 w 513703"/>
              <a:gd name="connsiteY102" fmla="*/ 346879 h 3624606"/>
              <a:gd name="connsiteX103" fmla="*/ 438280 w 513703"/>
              <a:gd name="connsiteY103" fmla="*/ 346878 h 3624606"/>
              <a:gd name="connsiteX104" fmla="*/ 513703 w 513703"/>
              <a:gd name="connsiteY104" fmla="*/ 422301 h 3624606"/>
              <a:gd name="connsiteX105" fmla="*/ 438280 w 513703"/>
              <a:gd name="connsiteY105" fmla="*/ 497724 h 3624606"/>
              <a:gd name="connsiteX106" fmla="*/ 362857 w 513703"/>
              <a:gd name="connsiteY106" fmla="*/ 422301 h 3624606"/>
              <a:gd name="connsiteX107" fmla="*/ 438280 w 513703"/>
              <a:gd name="connsiteY107" fmla="*/ 346878 h 3624606"/>
              <a:gd name="connsiteX108" fmla="*/ 75423 w 513703"/>
              <a:gd name="connsiteY108" fmla="*/ 1 h 3624606"/>
              <a:gd name="connsiteX109" fmla="*/ 150846 w 513703"/>
              <a:gd name="connsiteY109" fmla="*/ 75424 h 3624606"/>
              <a:gd name="connsiteX110" fmla="*/ 75423 w 513703"/>
              <a:gd name="connsiteY110" fmla="*/ 150847 h 3624606"/>
              <a:gd name="connsiteX111" fmla="*/ 0 w 513703"/>
              <a:gd name="connsiteY111" fmla="*/ 75424 h 3624606"/>
              <a:gd name="connsiteX112" fmla="*/ 75423 w 513703"/>
              <a:gd name="connsiteY112" fmla="*/ 1 h 3624606"/>
              <a:gd name="connsiteX113" fmla="*/ 438280 w 513703"/>
              <a:gd name="connsiteY113" fmla="*/ 0 h 3624606"/>
              <a:gd name="connsiteX114" fmla="*/ 513703 w 513703"/>
              <a:gd name="connsiteY114" fmla="*/ 75424 h 3624606"/>
              <a:gd name="connsiteX115" fmla="*/ 438280 w 513703"/>
              <a:gd name="connsiteY115" fmla="*/ 150847 h 3624606"/>
              <a:gd name="connsiteX116" fmla="*/ 362857 w 513703"/>
              <a:gd name="connsiteY116" fmla="*/ 75424 h 3624606"/>
              <a:gd name="connsiteX117" fmla="*/ 438280 w 513703"/>
              <a:gd name="connsiteY117" fmla="*/ 0 h 3624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513703" h="3624606">
                <a:moveTo>
                  <a:pt x="438280" y="3473760"/>
                </a:moveTo>
                <a:cubicBezTo>
                  <a:pt x="479935" y="3473760"/>
                  <a:pt x="513703" y="3507528"/>
                  <a:pt x="513703" y="3549183"/>
                </a:cubicBezTo>
                <a:cubicBezTo>
                  <a:pt x="513703" y="3590838"/>
                  <a:pt x="479935" y="3624606"/>
                  <a:pt x="438280" y="3624606"/>
                </a:cubicBezTo>
                <a:cubicBezTo>
                  <a:pt x="396625" y="3624606"/>
                  <a:pt x="362857" y="3590838"/>
                  <a:pt x="362857" y="3549183"/>
                </a:cubicBezTo>
                <a:cubicBezTo>
                  <a:pt x="362857" y="3507528"/>
                  <a:pt x="396625" y="3473760"/>
                  <a:pt x="438280" y="3473760"/>
                </a:cubicBezTo>
                <a:close/>
                <a:moveTo>
                  <a:pt x="75423" y="3473760"/>
                </a:moveTo>
                <a:cubicBezTo>
                  <a:pt x="117078" y="3473760"/>
                  <a:pt x="150846" y="3507528"/>
                  <a:pt x="150846" y="3549183"/>
                </a:cubicBezTo>
                <a:cubicBezTo>
                  <a:pt x="150846" y="3590838"/>
                  <a:pt x="117078" y="3624606"/>
                  <a:pt x="75423" y="3624606"/>
                </a:cubicBezTo>
                <a:cubicBezTo>
                  <a:pt x="33768" y="3624606"/>
                  <a:pt x="0" y="3590838"/>
                  <a:pt x="0" y="3549183"/>
                </a:cubicBezTo>
                <a:cubicBezTo>
                  <a:pt x="0" y="3507528"/>
                  <a:pt x="33768" y="3473760"/>
                  <a:pt x="75423" y="3473760"/>
                </a:cubicBezTo>
                <a:close/>
                <a:moveTo>
                  <a:pt x="438280" y="3126882"/>
                </a:moveTo>
                <a:cubicBezTo>
                  <a:pt x="479935" y="3126882"/>
                  <a:pt x="513703" y="3160650"/>
                  <a:pt x="513703" y="3202305"/>
                </a:cubicBezTo>
                <a:cubicBezTo>
                  <a:pt x="513703" y="3243960"/>
                  <a:pt x="479935" y="3277728"/>
                  <a:pt x="438280" y="3277728"/>
                </a:cubicBezTo>
                <a:cubicBezTo>
                  <a:pt x="396625" y="3277728"/>
                  <a:pt x="362857" y="3243960"/>
                  <a:pt x="362857" y="3202305"/>
                </a:cubicBezTo>
                <a:cubicBezTo>
                  <a:pt x="362857" y="3160650"/>
                  <a:pt x="396625" y="3126882"/>
                  <a:pt x="438280" y="3126882"/>
                </a:cubicBezTo>
                <a:close/>
                <a:moveTo>
                  <a:pt x="75423" y="3126882"/>
                </a:moveTo>
                <a:cubicBezTo>
                  <a:pt x="117078" y="3126882"/>
                  <a:pt x="150846" y="3160650"/>
                  <a:pt x="150846" y="3202305"/>
                </a:cubicBezTo>
                <a:cubicBezTo>
                  <a:pt x="150846" y="3243960"/>
                  <a:pt x="117078" y="3277728"/>
                  <a:pt x="75423" y="3277728"/>
                </a:cubicBezTo>
                <a:cubicBezTo>
                  <a:pt x="33768" y="3277728"/>
                  <a:pt x="0" y="3243960"/>
                  <a:pt x="0" y="3202305"/>
                </a:cubicBezTo>
                <a:cubicBezTo>
                  <a:pt x="0" y="3160650"/>
                  <a:pt x="33768" y="3126882"/>
                  <a:pt x="75423" y="3126882"/>
                </a:cubicBezTo>
                <a:close/>
                <a:moveTo>
                  <a:pt x="438280" y="2780004"/>
                </a:moveTo>
                <a:cubicBezTo>
                  <a:pt x="479935" y="2780004"/>
                  <a:pt x="513703" y="2813772"/>
                  <a:pt x="513703" y="2855427"/>
                </a:cubicBezTo>
                <a:cubicBezTo>
                  <a:pt x="513703" y="2897082"/>
                  <a:pt x="479935" y="2930850"/>
                  <a:pt x="438280" y="2930850"/>
                </a:cubicBezTo>
                <a:cubicBezTo>
                  <a:pt x="396625" y="2930850"/>
                  <a:pt x="362857" y="2897082"/>
                  <a:pt x="362857" y="2855427"/>
                </a:cubicBezTo>
                <a:cubicBezTo>
                  <a:pt x="362857" y="2813772"/>
                  <a:pt x="396625" y="2780004"/>
                  <a:pt x="438280" y="2780004"/>
                </a:cubicBezTo>
                <a:close/>
                <a:moveTo>
                  <a:pt x="75423" y="2780004"/>
                </a:moveTo>
                <a:cubicBezTo>
                  <a:pt x="117078" y="2780004"/>
                  <a:pt x="150846" y="2813772"/>
                  <a:pt x="150846" y="2855427"/>
                </a:cubicBezTo>
                <a:cubicBezTo>
                  <a:pt x="150846" y="2897082"/>
                  <a:pt x="117078" y="2930850"/>
                  <a:pt x="75423" y="2930850"/>
                </a:cubicBezTo>
                <a:cubicBezTo>
                  <a:pt x="33768" y="2930850"/>
                  <a:pt x="0" y="2897082"/>
                  <a:pt x="0" y="2855427"/>
                </a:cubicBezTo>
                <a:cubicBezTo>
                  <a:pt x="0" y="2813772"/>
                  <a:pt x="33768" y="2780004"/>
                  <a:pt x="75423" y="2780004"/>
                </a:cubicBezTo>
                <a:close/>
                <a:moveTo>
                  <a:pt x="438280" y="2433126"/>
                </a:moveTo>
                <a:cubicBezTo>
                  <a:pt x="479935" y="2433126"/>
                  <a:pt x="513703" y="2466894"/>
                  <a:pt x="513703" y="2508549"/>
                </a:cubicBezTo>
                <a:cubicBezTo>
                  <a:pt x="513703" y="2550204"/>
                  <a:pt x="479935" y="2583972"/>
                  <a:pt x="438280" y="2583972"/>
                </a:cubicBezTo>
                <a:cubicBezTo>
                  <a:pt x="396625" y="2583972"/>
                  <a:pt x="362857" y="2550204"/>
                  <a:pt x="362857" y="2508549"/>
                </a:cubicBezTo>
                <a:cubicBezTo>
                  <a:pt x="362857" y="2466894"/>
                  <a:pt x="396625" y="2433126"/>
                  <a:pt x="438280" y="2433126"/>
                </a:cubicBezTo>
                <a:close/>
                <a:moveTo>
                  <a:pt x="75423" y="2433126"/>
                </a:moveTo>
                <a:cubicBezTo>
                  <a:pt x="117078" y="2433126"/>
                  <a:pt x="150846" y="2466894"/>
                  <a:pt x="150846" y="2508549"/>
                </a:cubicBezTo>
                <a:cubicBezTo>
                  <a:pt x="150846" y="2550204"/>
                  <a:pt x="117078" y="2583972"/>
                  <a:pt x="75423" y="2583972"/>
                </a:cubicBezTo>
                <a:cubicBezTo>
                  <a:pt x="33768" y="2583972"/>
                  <a:pt x="0" y="2550204"/>
                  <a:pt x="0" y="2508549"/>
                </a:cubicBezTo>
                <a:cubicBezTo>
                  <a:pt x="0" y="2466894"/>
                  <a:pt x="33768" y="2433126"/>
                  <a:pt x="75423" y="2433126"/>
                </a:cubicBezTo>
                <a:close/>
                <a:moveTo>
                  <a:pt x="438280" y="2086248"/>
                </a:moveTo>
                <a:cubicBezTo>
                  <a:pt x="479935" y="2086248"/>
                  <a:pt x="513703" y="2120016"/>
                  <a:pt x="513703" y="2161671"/>
                </a:cubicBezTo>
                <a:cubicBezTo>
                  <a:pt x="513703" y="2203326"/>
                  <a:pt x="479935" y="2237094"/>
                  <a:pt x="438280" y="2237094"/>
                </a:cubicBezTo>
                <a:cubicBezTo>
                  <a:pt x="396625" y="2237094"/>
                  <a:pt x="362857" y="2203326"/>
                  <a:pt x="362857" y="2161671"/>
                </a:cubicBezTo>
                <a:cubicBezTo>
                  <a:pt x="362857" y="2120016"/>
                  <a:pt x="396625" y="2086248"/>
                  <a:pt x="438280" y="2086248"/>
                </a:cubicBezTo>
                <a:close/>
                <a:moveTo>
                  <a:pt x="75423" y="2086248"/>
                </a:moveTo>
                <a:cubicBezTo>
                  <a:pt x="117078" y="2086248"/>
                  <a:pt x="150846" y="2120016"/>
                  <a:pt x="150846" y="2161671"/>
                </a:cubicBezTo>
                <a:cubicBezTo>
                  <a:pt x="150846" y="2203326"/>
                  <a:pt x="117078" y="2237094"/>
                  <a:pt x="75423" y="2237094"/>
                </a:cubicBezTo>
                <a:cubicBezTo>
                  <a:pt x="33768" y="2237094"/>
                  <a:pt x="0" y="2203326"/>
                  <a:pt x="0" y="2161671"/>
                </a:cubicBezTo>
                <a:cubicBezTo>
                  <a:pt x="0" y="2120016"/>
                  <a:pt x="33768" y="2086248"/>
                  <a:pt x="75423" y="2086248"/>
                </a:cubicBezTo>
                <a:close/>
                <a:moveTo>
                  <a:pt x="438280" y="1734390"/>
                </a:moveTo>
                <a:cubicBezTo>
                  <a:pt x="479935" y="1734390"/>
                  <a:pt x="513703" y="1768158"/>
                  <a:pt x="513703" y="1809813"/>
                </a:cubicBezTo>
                <a:lnTo>
                  <a:pt x="513200" y="1812303"/>
                </a:lnTo>
                <a:lnTo>
                  <a:pt x="513703" y="1814793"/>
                </a:lnTo>
                <a:cubicBezTo>
                  <a:pt x="513703" y="1856448"/>
                  <a:pt x="479935" y="1890216"/>
                  <a:pt x="438280" y="1890216"/>
                </a:cubicBezTo>
                <a:cubicBezTo>
                  <a:pt x="396625" y="1890216"/>
                  <a:pt x="362857" y="1856448"/>
                  <a:pt x="362857" y="1814793"/>
                </a:cubicBezTo>
                <a:lnTo>
                  <a:pt x="363360" y="1812303"/>
                </a:lnTo>
                <a:lnTo>
                  <a:pt x="362857" y="1809813"/>
                </a:lnTo>
                <a:cubicBezTo>
                  <a:pt x="362857" y="1768158"/>
                  <a:pt x="396625" y="1734390"/>
                  <a:pt x="438280" y="1734390"/>
                </a:cubicBezTo>
                <a:close/>
                <a:moveTo>
                  <a:pt x="75423" y="1734390"/>
                </a:moveTo>
                <a:cubicBezTo>
                  <a:pt x="117078" y="1734390"/>
                  <a:pt x="150846" y="1768158"/>
                  <a:pt x="150846" y="1809813"/>
                </a:cubicBezTo>
                <a:lnTo>
                  <a:pt x="150343" y="1812303"/>
                </a:lnTo>
                <a:lnTo>
                  <a:pt x="150846" y="1814793"/>
                </a:lnTo>
                <a:cubicBezTo>
                  <a:pt x="150846" y="1856448"/>
                  <a:pt x="117078" y="1890216"/>
                  <a:pt x="75423" y="1890216"/>
                </a:cubicBezTo>
                <a:cubicBezTo>
                  <a:pt x="33768" y="1890216"/>
                  <a:pt x="0" y="1856448"/>
                  <a:pt x="0" y="1814793"/>
                </a:cubicBezTo>
                <a:lnTo>
                  <a:pt x="503" y="1812303"/>
                </a:lnTo>
                <a:lnTo>
                  <a:pt x="0" y="1809813"/>
                </a:lnTo>
                <a:cubicBezTo>
                  <a:pt x="0" y="1768158"/>
                  <a:pt x="33768" y="1734390"/>
                  <a:pt x="75423" y="1734390"/>
                </a:cubicBezTo>
                <a:close/>
                <a:moveTo>
                  <a:pt x="438280" y="1387512"/>
                </a:moveTo>
                <a:cubicBezTo>
                  <a:pt x="479935" y="1387512"/>
                  <a:pt x="513703" y="1421280"/>
                  <a:pt x="513703" y="1462935"/>
                </a:cubicBezTo>
                <a:cubicBezTo>
                  <a:pt x="513703" y="1504590"/>
                  <a:pt x="479935" y="1538358"/>
                  <a:pt x="438280" y="1538358"/>
                </a:cubicBezTo>
                <a:cubicBezTo>
                  <a:pt x="396625" y="1538358"/>
                  <a:pt x="362857" y="1504590"/>
                  <a:pt x="362857" y="1462935"/>
                </a:cubicBezTo>
                <a:cubicBezTo>
                  <a:pt x="362857" y="1421280"/>
                  <a:pt x="396625" y="1387512"/>
                  <a:pt x="438280" y="1387512"/>
                </a:cubicBezTo>
                <a:close/>
                <a:moveTo>
                  <a:pt x="75423" y="1387512"/>
                </a:moveTo>
                <a:cubicBezTo>
                  <a:pt x="117078" y="1387512"/>
                  <a:pt x="150846" y="1421280"/>
                  <a:pt x="150846" y="1462935"/>
                </a:cubicBezTo>
                <a:cubicBezTo>
                  <a:pt x="150846" y="1504590"/>
                  <a:pt x="117078" y="1538358"/>
                  <a:pt x="75423" y="1538358"/>
                </a:cubicBezTo>
                <a:cubicBezTo>
                  <a:pt x="33768" y="1538358"/>
                  <a:pt x="0" y="1504590"/>
                  <a:pt x="0" y="1462935"/>
                </a:cubicBezTo>
                <a:cubicBezTo>
                  <a:pt x="0" y="1421280"/>
                  <a:pt x="33768" y="1387512"/>
                  <a:pt x="75423" y="1387512"/>
                </a:cubicBezTo>
                <a:close/>
                <a:moveTo>
                  <a:pt x="75423" y="1040634"/>
                </a:moveTo>
                <a:cubicBezTo>
                  <a:pt x="117078" y="1040634"/>
                  <a:pt x="150846" y="1074403"/>
                  <a:pt x="150846" y="1116057"/>
                </a:cubicBezTo>
                <a:cubicBezTo>
                  <a:pt x="150846" y="1157713"/>
                  <a:pt x="117078" y="1191480"/>
                  <a:pt x="75423" y="1191480"/>
                </a:cubicBezTo>
                <a:cubicBezTo>
                  <a:pt x="33768" y="1191480"/>
                  <a:pt x="0" y="1157713"/>
                  <a:pt x="0" y="1116057"/>
                </a:cubicBezTo>
                <a:cubicBezTo>
                  <a:pt x="0" y="1074403"/>
                  <a:pt x="33768" y="1040634"/>
                  <a:pt x="75423" y="1040634"/>
                </a:cubicBezTo>
                <a:close/>
                <a:moveTo>
                  <a:pt x="438280" y="1040634"/>
                </a:moveTo>
                <a:cubicBezTo>
                  <a:pt x="479935" y="1040634"/>
                  <a:pt x="513703" y="1074402"/>
                  <a:pt x="513703" y="1116057"/>
                </a:cubicBezTo>
                <a:cubicBezTo>
                  <a:pt x="513703" y="1157712"/>
                  <a:pt x="479935" y="1191480"/>
                  <a:pt x="438280" y="1191480"/>
                </a:cubicBezTo>
                <a:cubicBezTo>
                  <a:pt x="396625" y="1191480"/>
                  <a:pt x="362857" y="1157712"/>
                  <a:pt x="362857" y="1116057"/>
                </a:cubicBezTo>
                <a:cubicBezTo>
                  <a:pt x="362857" y="1074402"/>
                  <a:pt x="396625" y="1040634"/>
                  <a:pt x="438280" y="1040634"/>
                </a:cubicBezTo>
                <a:close/>
                <a:moveTo>
                  <a:pt x="438280" y="693756"/>
                </a:moveTo>
                <a:cubicBezTo>
                  <a:pt x="479935" y="693756"/>
                  <a:pt x="513703" y="727524"/>
                  <a:pt x="513703" y="769179"/>
                </a:cubicBezTo>
                <a:cubicBezTo>
                  <a:pt x="513703" y="810834"/>
                  <a:pt x="479935" y="844602"/>
                  <a:pt x="438280" y="844602"/>
                </a:cubicBezTo>
                <a:cubicBezTo>
                  <a:pt x="396625" y="844602"/>
                  <a:pt x="362857" y="810834"/>
                  <a:pt x="362857" y="769179"/>
                </a:cubicBezTo>
                <a:cubicBezTo>
                  <a:pt x="362857" y="727524"/>
                  <a:pt x="396625" y="693756"/>
                  <a:pt x="438280" y="693756"/>
                </a:cubicBezTo>
                <a:close/>
                <a:moveTo>
                  <a:pt x="75423" y="693756"/>
                </a:moveTo>
                <a:cubicBezTo>
                  <a:pt x="117078" y="693756"/>
                  <a:pt x="150846" y="727525"/>
                  <a:pt x="150846" y="769179"/>
                </a:cubicBezTo>
                <a:cubicBezTo>
                  <a:pt x="150846" y="810834"/>
                  <a:pt x="117078" y="844602"/>
                  <a:pt x="75423" y="844602"/>
                </a:cubicBezTo>
                <a:cubicBezTo>
                  <a:pt x="33768" y="844602"/>
                  <a:pt x="0" y="810834"/>
                  <a:pt x="0" y="769179"/>
                </a:cubicBezTo>
                <a:cubicBezTo>
                  <a:pt x="0" y="727525"/>
                  <a:pt x="33768" y="693756"/>
                  <a:pt x="75423" y="693756"/>
                </a:cubicBezTo>
                <a:close/>
                <a:moveTo>
                  <a:pt x="75423" y="346879"/>
                </a:moveTo>
                <a:cubicBezTo>
                  <a:pt x="117078" y="346879"/>
                  <a:pt x="150846" y="380647"/>
                  <a:pt x="150846" y="422302"/>
                </a:cubicBezTo>
                <a:cubicBezTo>
                  <a:pt x="150846" y="463957"/>
                  <a:pt x="117078" y="497724"/>
                  <a:pt x="75423" y="497724"/>
                </a:cubicBezTo>
                <a:cubicBezTo>
                  <a:pt x="33768" y="497724"/>
                  <a:pt x="0" y="463957"/>
                  <a:pt x="0" y="422302"/>
                </a:cubicBezTo>
                <a:cubicBezTo>
                  <a:pt x="0" y="380647"/>
                  <a:pt x="33768" y="346879"/>
                  <a:pt x="75423" y="346879"/>
                </a:cubicBezTo>
                <a:close/>
                <a:moveTo>
                  <a:pt x="438280" y="346878"/>
                </a:moveTo>
                <a:cubicBezTo>
                  <a:pt x="479935" y="346878"/>
                  <a:pt x="513703" y="380646"/>
                  <a:pt x="513703" y="422301"/>
                </a:cubicBezTo>
                <a:cubicBezTo>
                  <a:pt x="513703" y="463956"/>
                  <a:pt x="479935" y="497724"/>
                  <a:pt x="438280" y="497724"/>
                </a:cubicBezTo>
                <a:cubicBezTo>
                  <a:pt x="396625" y="497724"/>
                  <a:pt x="362857" y="463956"/>
                  <a:pt x="362857" y="422301"/>
                </a:cubicBezTo>
                <a:cubicBezTo>
                  <a:pt x="362857" y="380646"/>
                  <a:pt x="396625" y="346878"/>
                  <a:pt x="438280" y="346878"/>
                </a:cubicBezTo>
                <a:close/>
                <a:moveTo>
                  <a:pt x="75423" y="1"/>
                </a:moveTo>
                <a:cubicBezTo>
                  <a:pt x="117078" y="1"/>
                  <a:pt x="150846" y="33769"/>
                  <a:pt x="150846" y="75424"/>
                </a:cubicBezTo>
                <a:cubicBezTo>
                  <a:pt x="150846" y="117079"/>
                  <a:pt x="117078" y="150847"/>
                  <a:pt x="75423" y="150847"/>
                </a:cubicBezTo>
                <a:cubicBezTo>
                  <a:pt x="33768" y="150847"/>
                  <a:pt x="0" y="117079"/>
                  <a:pt x="0" y="75424"/>
                </a:cubicBezTo>
                <a:cubicBezTo>
                  <a:pt x="0" y="33769"/>
                  <a:pt x="33768" y="1"/>
                  <a:pt x="75423" y="1"/>
                </a:cubicBezTo>
                <a:close/>
                <a:moveTo>
                  <a:pt x="438280" y="0"/>
                </a:moveTo>
                <a:cubicBezTo>
                  <a:pt x="479935" y="0"/>
                  <a:pt x="513703" y="33769"/>
                  <a:pt x="513703" y="75424"/>
                </a:cubicBezTo>
                <a:cubicBezTo>
                  <a:pt x="513703" y="117079"/>
                  <a:pt x="479935" y="150847"/>
                  <a:pt x="438280" y="150847"/>
                </a:cubicBezTo>
                <a:cubicBezTo>
                  <a:pt x="396625" y="150847"/>
                  <a:pt x="362857" y="117079"/>
                  <a:pt x="362857" y="75424"/>
                </a:cubicBezTo>
                <a:cubicBezTo>
                  <a:pt x="362857" y="33769"/>
                  <a:pt x="396625" y="0"/>
                  <a:pt x="438280" y="0"/>
                </a:cubicBezTo>
                <a:close/>
              </a:path>
            </a:pathLst>
          </a:custGeom>
          <a:gradFill>
            <a:gsLst>
              <a:gs pos="74000">
                <a:schemeClr val="accent2">
                  <a:alpha val="70000"/>
                </a:schemeClr>
              </a:gs>
              <a:gs pos="0">
                <a:schemeClr val="accent4">
                  <a:alpha val="70000"/>
                </a:schemeClr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矩形: 圆角 13"/>
          <p:cNvSpPr/>
          <p:nvPr/>
        </p:nvSpPr>
        <p:spPr>
          <a:xfrm>
            <a:off x="744076" y="6241020"/>
            <a:ext cx="4366476" cy="459272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tx1"/>
                </a:solidFill>
              </a:rPr>
              <a:t>作者</a:t>
            </a:r>
            <a:r>
              <a:rPr lang="zh-CN" altLang="en-US" b="1" dirty="0" smtClean="0">
                <a:solidFill>
                  <a:schemeClr val="tx1"/>
                </a:solidFill>
              </a:rPr>
              <a:t>：张云河、王硕</a:t>
            </a:r>
            <a:endParaRPr lang="zh-CN" altLang="en-US" b="1" dirty="0">
              <a:solidFill>
                <a:schemeClr val="tx1"/>
              </a:solidFill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905580" y="602297"/>
            <a:ext cx="5373587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zh-CN" altLang="en-US" sz="2200" dirty="0">
                <a:solidFill>
                  <a:schemeClr val="bg1"/>
                </a:solidFill>
                <a:sym typeface="+mn-ea"/>
              </a:rPr>
              <a:t>大数据教材</a:t>
            </a:r>
            <a:r>
              <a:rPr lang="en-US" altLang="zh-CN" sz="2200" dirty="0">
                <a:solidFill>
                  <a:schemeClr val="bg1"/>
                </a:solidFill>
                <a:sym typeface="+mn-ea"/>
              </a:rPr>
              <a:t>《</a:t>
            </a:r>
            <a:r>
              <a:rPr lang="en-US" altLang="zh-CN" sz="2200" dirty="0" err="1">
                <a:solidFill>
                  <a:schemeClr val="bg1"/>
                </a:solidFill>
                <a:sym typeface="+mn-ea"/>
              </a:rPr>
              <a:t>Redis</a:t>
            </a:r>
            <a:r>
              <a:rPr lang="en-US" altLang="zh-CN" sz="2200" dirty="0">
                <a:solidFill>
                  <a:schemeClr val="bg1"/>
                </a:solidFill>
                <a:sym typeface="+mn-ea"/>
              </a:rPr>
              <a:t> 6</a:t>
            </a:r>
            <a:r>
              <a:rPr lang="zh-CN" altLang="en-US" sz="2200" dirty="0">
                <a:solidFill>
                  <a:schemeClr val="bg1"/>
                </a:solidFill>
                <a:sym typeface="+mn-ea"/>
              </a:rPr>
              <a:t>开发与实战</a:t>
            </a:r>
            <a:r>
              <a:rPr lang="en-US" altLang="zh-CN" sz="2200" dirty="0">
                <a:solidFill>
                  <a:schemeClr val="bg1"/>
                </a:solidFill>
                <a:sym typeface="+mn-ea"/>
              </a:rPr>
              <a:t>》</a:t>
            </a:r>
            <a:r>
              <a:rPr lang="zh-CN" altLang="en-US" sz="2200" b="1" dirty="0" smtClean="0">
                <a:solidFill>
                  <a:schemeClr val="accent2"/>
                </a:solidFill>
                <a:sym typeface="+mn-ea"/>
              </a:rPr>
              <a:t>最新版</a:t>
            </a:r>
            <a:endParaRPr lang="zh-CN" altLang="en-US" sz="2200" b="1" dirty="0">
              <a:solidFill>
                <a:schemeClr val="accent2"/>
              </a:solidFill>
            </a:endParaRPr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06400" y="522760"/>
            <a:ext cx="527050" cy="527050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82240" y="1211016"/>
            <a:ext cx="3353401" cy="4698348"/>
          </a:xfrm>
          <a:prstGeom prst="rect">
            <a:avLst/>
          </a:prstGeom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主从复制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669925" y="910590"/>
            <a:ext cx="2830195" cy="645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Redis主从复制特点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669925" y="1555750"/>
            <a:ext cx="10841990" cy="40309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lnSpc>
                <a:spcPct val="20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1) 同一个Master可以拥有多个Slaves。</a:t>
            </a:r>
          </a:p>
          <a:p>
            <a:pPr lvl="0" algn="just">
              <a:lnSpc>
                <a:spcPct val="20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2) Master下的Slave还可以接受同一架构中其它Slave的链接与同步请求，实现数据的级联复制，即Master -&gt; Slave -&gt; Slave模式。</a:t>
            </a:r>
          </a:p>
          <a:p>
            <a:pPr lvl="0" algn="just">
              <a:lnSpc>
                <a:spcPct val="20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3) Master以非阻塞的方式同步数据至Slave，这将意味着Master会继续处理一个或多个Slave的读写请求。</a:t>
            </a:r>
          </a:p>
          <a:p>
            <a:pPr lvl="0" algn="just">
              <a:lnSpc>
                <a:spcPct val="20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4) 主从复制不会阻塞Master, 当一个或多个Slave与Master进行初次同步数据时，Master可以继续处理Client发来的请求。</a:t>
            </a:r>
          </a:p>
          <a:p>
            <a:pPr lvl="0" algn="just">
              <a:lnSpc>
                <a:spcPct val="20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5) 主从复制具有可扩展性，即多个Slave专门提供只读查询与数据的冗余，Master端专门提供写操作。</a:t>
            </a:r>
          </a:p>
          <a:p>
            <a:pPr lvl="0" algn="just">
              <a:lnSpc>
                <a:spcPct val="20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6) 通过配置禁用Master数据持久化机制，将其数据持久化操作交给Slaves完成，避免在Master中要有独立的进程来完成此操作。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主从复制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669925" y="910590"/>
            <a:ext cx="2830195" cy="645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Redis主从复制</a:t>
            </a:r>
            <a:r>
              <a:rPr lang="zh-CN" altLang="en-US" sz="2400">
                <a:sym typeface="+mn-ea"/>
              </a:rPr>
              <a:t>好处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669925" y="1555750"/>
            <a:ext cx="6226175" cy="1153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lnSpc>
                <a:spcPct val="20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1) 避免Redis单点故障</a:t>
            </a:r>
          </a:p>
          <a:p>
            <a:pPr lvl="0" algn="just">
              <a:lnSpc>
                <a:spcPct val="20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2) 做到读写分离，构建读写分离架构，满足读多写少的应用场景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主从复制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669925" y="910590"/>
            <a:ext cx="2830195" cy="645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2400">
                <a:sym typeface="+mn-ea"/>
              </a:rPr>
              <a:t>Redis主从复制</a:t>
            </a:r>
            <a:r>
              <a:rPr lang="zh-CN" altLang="en-US" sz="2400">
                <a:sym typeface="+mn-ea"/>
              </a:rPr>
              <a:t>原理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796925" y="1555750"/>
            <a:ext cx="10598785" cy="4015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    当启动一个Slave进程后，它会向Master发送一个SYNC 命令，请求同步连接。无论是第一次连接还是重新连接，Master都会启动一个后台进程，将数据快照保存到数据文件中，同时Master会记录所有修改数据的命令并缓存在数据文件中。</a:t>
            </a:r>
          </a:p>
          <a:p>
            <a:pPr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    后台进程完成缓存操作后，Master就发送数据文件给Slave，Slave端将数据文件保存到硬盘上，然后将其在加载到内存中，接着Master就会把所有修改数据的操作，将其发送给Slave端。</a:t>
            </a:r>
          </a:p>
          <a:p>
            <a:pPr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    若Slave出现故障导致宕机，恢复正常后会自动重新连接，Master收到Slave的连接后，将其完整的数据文件发送给Slave，如果Mater同时收到多个Slave发来的同步请求，Master只会在后台启动一个进程保存数据文件，然后将其发送给所有的Slave，确保Slave正常。</a:t>
            </a:r>
          </a:p>
          <a:p>
            <a:pPr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    关于Redis的安装与配置这里不在重复，具体安装请读者考本书的1.2.2在Linux下配置Redis。Redis主从环境使用的服务器资源列表如下，将Redis安装在三台服务器上，三台服务器都是CentOS 7的操作系统。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1001395" y="5489575"/>
            <a:ext cx="170688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</a:pPr>
            <a:r>
              <a:rPr lang="en-US" sz="1600">
                <a:sym typeface="+mn-ea"/>
              </a:rPr>
              <a:t>主从复制环境</a:t>
            </a:r>
            <a:r>
              <a:rPr lang="zh-CN" altLang="en-US" sz="1600">
                <a:sym typeface="+mn-ea"/>
              </a:rPr>
              <a:t>：</a:t>
            </a:r>
          </a:p>
        </p:txBody>
      </p:sp>
      <p:graphicFrame>
        <p:nvGraphicFramePr>
          <p:cNvPr id="4" name="表格 3"/>
          <p:cNvGraphicFramePr/>
          <p:nvPr>
            <p:custDataLst>
              <p:tags r:id="rId2"/>
            </p:custDataLst>
          </p:nvPr>
        </p:nvGraphicFramePr>
        <p:xfrm>
          <a:off x="2430145" y="5669915"/>
          <a:ext cx="5266055" cy="6197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316355"/>
                <a:gridCol w="1315720"/>
                <a:gridCol w="1317625"/>
                <a:gridCol w="1316355"/>
              </a:tblGrid>
              <a:tr h="154940"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0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端口</a:t>
                      </a:r>
                      <a:endParaRPr lang="en-US" altLang="en-US" sz="10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0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操作系统</a:t>
                      </a:r>
                      <a:endParaRPr lang="en-US" altLang="en-US" sz="10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0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IP地址</a:t>
                      </a:r>
                      <a:endParaRPr lang="en-US" altLang="en-US" sz="10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0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角色</a:t>
                      </a:r>
                      <a:endParaRPr lang="en-US" altLang="en-US" sz="10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54940">
                <a:tc rowSpan="3"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panose="020F0502020204030204" charset="0"/>
                          <a:cs typeface="Calibri" panose="020F0502020204030204" charset="0"/>
                        </a:rPr>
                        <a:t> 6379</a:t>
                      </a:r>
                      <a:endParaRPr lang="en-US" altLang="en-US" sz="10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panose="020F0502020204030204" charset="0"/>
                          <a:cs typeface="Calibri" panose="020F0502020204030204" charset="0"/>
                        </a:rPr>
                        <a:t> </a:t>
                      </a:r>
                      <a:r>
                        <a:rPr lang="en-US" sz="10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CentOS</a:t>
                      </a:r>
                      <a:r>
                        <a:rPr lang="en-US" sz="1000" b="0">
                          <a:latin typeface="Calibri" panose="020F0502020204030204" charset="0"/>
                          <a:cs typeface="Calibri" panose="020F0502020204030204" charset="0"/>
                        </a:rPr>
                        <a:t>7 X86</a:t>
                      </a:r>
                      <a:r>
                        <a:rPr lang="en-US" sz="10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_</a:t>
                      </a:r>
                      <a:r>
                        <a:rPr lang="en-US" sz="1000" b="0">
                          <a:latin typeface="Calibri" panose="020F0502020204030204" charset="0"/>
                          <a:cs typeface="Calibri" panose="020F0502020204030204" charset="0"/>
                        </a:rPr>
                        <a:t>64</a:t>
                      </a:r>
                      <a:endParaRPr lang="en-US" altLang="en-US" sz="10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1</a:t>
                      </a:r>
                      <a:r>
                        <a:rPr lang="en-US" sz="1000" b="0">
                          <a:latin typeface="Calibri" panose="020F0502020204030204" charset="0"/>
                          <a:cs typeface="Calibri" panose="020F0502020204030204" charset="0"/>
                        </a:rPr>
                        <a:t>92.168.11.10</a:t>
                      </a:r>
                      <a:endParaRPr lang="en-US" altLang="en-US" sz="10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Calibri" panose="020F0502020204030204" charset="0"/>
                          <a:cs typeface="Calibri" panose="020F0502020204030204" charset="0"/>
                        </a:rPr>
                        <a:t>Master</a:t>
                      </a:r>
                      <a:endParaRPr lang="en-US" altLang="en-US" sz="10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54940"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1</a:t>
                      </a:r>
                      <a:r>
                        <a:rPr lang="en-US" sz="1000" b="0">
                          <a:latin typeface="Calibri" panose="020F0502020204030204" charset="0"/>
                          <a:cs typeface="Calibri" panose="020F0502020204030204" charset="0"/>
                        </a:rPr>
                        <a:t>92.168.11.11</a:t>
                      </a:r>
                      <a:endParaRPr lang="en-US" altLang="en-US" sz="10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S</a:t>
                      </a:r>
                      <a:r>
                        <a:rPr lang="en-US" sz="1000" b="0">
                          <a:latin typeface="Calibri" panose="020F0502020204030204" charset="0"/>
                          <a:cs typeface="Calibri" panose="020F0502020204030204" charset="0"/>
                        </a:rPr>
                        <a:t>alve1</a:t>
                      </a:r>
                      <a:endParaRPr lang="en-US" altLang="en-US" sz="10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54940"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1</a:t>
                      </a:r>
                      <a:r>
                        <a:rPr lang="en-US" sz="1000" b="0">
                          <a:latin typeface="Calibri" panose="020F0502020204030204" charset="0"/>
                          <a:cs typeface="Calibri" panose="020F0502020204030204" charset="0"/>
                        </a:rPr>
                        <a:t>92.168.11.12</a:t>
                      </a:r>
                      <a:endParaRPr lang="en-US" altLang="en-US" sz="10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S</a:t>
                      </a:r>
                      <a:r>
                        <a:rPr lang="en-US" sz="1000" b="0">
                          <a:latin typeface="Calibri" panose="020F0502020204030204" charset="0"/>
                          <a:cs typeface="Calibri" panose="020F0502020204030204" charset="0"/>
                        </a:rPr>
                        <a:t>lave2</a:t>
                      </a:r>
                      <a:endParaRPr lang="en-US" altLang="en-US" sz="10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074baa65-1bcf-453b-aed6-4412331b316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58a06314-7e72-4d48-85a8-7253ed818c17}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8d7fd13c-4504-499b-a682-b0b1ce509a1c}"/>
  <p:tag name="TABLE_ENDDRAG_ORIGIN_RECT" val="414*48"/>
  <p:tag name="TABLE_ENDDRAG_RECT" val="272*245*414*48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e6fa7d4b-b318-4054-88d9-cc2da5b8282c}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178dfe99-01bf-4b95-a822-48fed0c4a6e0}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9ea8e9c2-ee5d-486c-a234-3b1b4e8f633b}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ac5c2e85-0a6a-4111-8bf5-047ce6d0aa4b}"/>
  <p:tag name="TABLE_ENDDRAG_ORIGIN_RECT" val="482*172"/>
  <p:tag name="TABLE_ENDDRAG_RECT" val="240*219*482*172"/>
</p:tagLst>
</file>

<file path=ppt/theme/theme1.xml><?xml version="1.0" encoding="utf-8"?>
<a:theme xmlns:a="http://schemas.openxmlformats.org/drawingml/2006/main" name="主题5">
  <a:themeElements>
    <a:clrScheme name="自定义 15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07416B"/>
      </a:accent1>
      <a:accent2>
        <a:srgbClr val="FFC000"/>
      </a:accent2>
      <a:accent3>
        <a:srgbClr val="00002E"/>
      </a:accent3>
      <a:accent4>
        <a:srgbClr val="031684"/>
      </a:accent4>
      <a:accent5>
        <a:srgbClr val="969696"/>
      </a:accent5>
      <a:accent6>
        <a:srgbClr val="B2B2B2"/>
      </a:accent6>
      <a:hlink>
        <a:srgbClr val="4472C4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10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11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12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13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14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15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16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17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18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19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20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21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22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23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24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25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26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27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28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29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30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31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32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33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34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35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36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37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38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39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40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41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42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43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44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45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46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47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48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49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5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50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51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52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53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54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55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56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57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58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59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6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60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7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8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9.xml><?xml version="1.0" encoding="utf-8"?>
<a:themeOverride xmlns:a="http://schemas.openxmlformats.org/drawingml/2006/main">
  <a:clrScheme name="自定义 15">
    <a:dk1>
      <a:srgbClr val="000000"/>
    </a:dk1>
    <a:lt1>
      <a:srgbClr val="FFFFFF"/>
    </a:lt1>
    <a:dk2>
      <a:srgbClr val="768394"/>
    </a:dk2>
    <a:lt2>
      <a:srgbClr val="F0F0F0"/>
    </a:lt2>
    <a:accent1>
      <a:srgbClr val="07416B"/>
    </a:accent1>
    <a:accent2>
      <a:srgbClr val="FFC000"/>
    </a:accent2>
    <a:accent3>
      <a:srgbClr val="00002E"/>
    </a:accent3>
    <a:accent4>
      <a:srgbClr val="031684"/>
    </a:accent4>
    <a:accent5>
      <a:srgbClr val="969696"/>
    </a:accent5>
    <a:accent6>
      <a:srgbClr val="B2B2B2"/>
    </a:accent6>
    <a:hlink>
      <a:srgbClr val="4472C4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0</TotalTime>
  <Words>4371</Words>
  <Application>Microsoft Office PowerPoint</Application>
  <PresentationFormat>宽屏</PresentationFormat>
  <Paragraphs>585</Paragraphs>
  <Slides>67</Slides>
  <Notes>0</Notes>
  <HiddenSlides>0</HiddenSlides>
  <MMClips>0</MMClips>
  <ScaleCrop>false</ScaleCrop>
  <HeadingPairs>
    <vt:vector size="6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67</vt:i4>
      </vt:variant>
    </vt:vector>
  </HeadingPairs>
  <TitlesOfParts>
    <vt:vector size="76" baseType="lpstr">
      <vt:lpstr>华文楷体</vt:lpstr>
      <vt:lpstr>宋体</vt:lpstr>
      <vt:lpstr>微软雅黑</vt:lpstr>
      <vt:lpstr>微软雅黑 (正文)</vt:lpstr>
      <vt:lpstr>Arial</vt:lpstr>
      <vt:lpstr>Calibri</vt:lpstr>
      <vt:lpstr>Times New Roman</vt:lpstr>
      <vt:lpstr>Wingdings</vt:lpstr>
      <vt:lpstr>主题5</vt:lpstr>
      <vt:lpstr>Redis 6 开发与实战</vt:lpstr>
      <vt:lpstr>PowerPoint 演示文稿</vt:lpstr>
      <vt:lpstr> 第六章 Redis 集群环境部署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学 习 进 步 ！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wangshuo</cp:lastModifiedBy>
  <cp:revision>192</cp:revision>
  <cp:lastPrinted>2021-11-30T03:01:00Z</cp:lastPrinted>
  <dcterms:created xsi:type="dcterms:W3CDTF">2021-11-30T03:01:00Z</dcterms:created>
  <dcterms:modified xsi:type="dcterms:W3CDTF">2022-03-13T12:05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ICV">
    <vt:lpwstr>F550D6099EDE423F9644FD0920CD3DFA</vt:lpwstr>
  </property>
  <property fmtid="{D5CDD505-2E9C-101B-9397-08002B2CF9AE}" pid="4" name="KSOProductBuildVer">
    <vt:lpwstr>2052-11.1.0.11365</vt:lpwstr>
  </property>
</Properties>
</file>